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6" r:id="rId1"/>
    <p:sldMasterId id="2147483787" r:id="rId2"/>
  </p:sldMasterIdLst>
  <p:notesMasterIdLst>
    <p:notesMasterId r:id="rId6"/>
  </p:notesMasterIdLst>
  <p:handoutMasterIdLst>
    <p:handoutMasterId r:id="rId7"/>
  </p:handoutMasterIdLst>
  <p:sldIdLst>
    <p:sldId id="278" r:id="rId3"/>
    <p:sldId id="279" r:id="rId4"/>
    <p:sldId id="277" r:id="rId5"/>
  </p:sldIdLst>
  <p:sldSz cx="6859588" cy="12195175"/>
  <p:notesSz cx="9144000" cy="6858000"/>
  <p:custDataLst>
    <p:tags r:id="rId8"/>
  </p:custDataLst>
  <p:defaultTextStyle>
    <a:defPPr>
      <a:defRPr lang="en-US"/>
    </a:defPPr>
    <a:lvl1pPr marL="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42">
          <p15:clr>
            <a:srgbClr val="A4A3A4"/>
          </p15:clr>
        </p15:guide>
        <p15:guide id="2" pos="216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3D07"/>
    <a:srgbClr val="F6820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43" autoAdjust="0"/>
    <p:restoredTop sz="94682" autoAdjust="0"/>
  </p:normalViewPr>
  <p:slideViewPr>
    <p:cSldViewPr snapToGrid="0">
      <p:cViewPr>
        <p:scale>
          <a:sx n="90" d="100"/>
          <a:sy n="90" d="100"/>
        </p:scale>
        <p:origin x="2898" y="-60"/>
      </p:cViewPr>
      <p:guideLst>
        <p:guide orient="horz" pos="3842"/>
        <p:guide pos="216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0" d="100"/>
          <a:sy n="110" d="100"/>
        </p:scale>
        <p:origin x="-678" y="-84"/>
      </p:cViewPr>
      <p:guideLst>
        <p:guide orient="horz" pos="2160"/>
        <p:guide pos="28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6F9B06-75EE-4898-843A-CD2BCC3A8389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6D1259-A58D-4E18-A802-83379F64A11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37187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FFF975-52A0-44B4-827D-DCDD758D88E2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48100" y="514350"/>
            <a:ext cx="14478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247999-8DCD-4C44-B327-531A943EBE4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0103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file:///C:\Users\catherine.huon.ext\Documents\4_1_1_presentations_Powerpoint\Format%2016_9.png" TargetMode="Externa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file:///C:\Users\catherine.huon.ext\Documents\4_1_1_presentations_Powerpoint\Format%2016_9.png" TargetMode="Externa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Slide_blue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716799" y="911645"/>
            <a:ext cx="5425992" cy="10738779"/>
          </a:xfrm>
          <a:prstGeom prst="rect">
            <a:avLst/>
          </a:prstGeom>
          <a:blipFill dpi="0" rotWithShape="1">
            <a:blip r:embed="rId2">
              <a:alphaModFix amt="40000"/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121944" tIns="60972" rIns="121944" bIns="6097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052" name="Picture 4" descr="\\psf\Home\Desktop\Untitled-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152258"/>
            <a:ext cx="6859588" cy="2481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Espace réservé du texte 7"/>
          <p:cNvSpPr>
            <a:spLocks noGrp="1"/>
          </p:cNvSpPr>
          <p:nvPr>
            <p:ph type="body" sz="quarter" idx="12"/>
          </p:nvPr>
        </p:nvSpPr>
        <p:spPr bwMode="gray">
          <a:xfrm>
            <a:off x="2306544" y="1487879"/>
            <a:ext cx="3944742" cy="414266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Ins="96019" anchor="ctr"/>
          <a:lstStyle>
            <a:lvl1pPr marL="0" indent="0" algn="r">
              <a:buNone/>
              <a:defRPr lang="fr-FR" sz="1200" b="1" kern="1200" cap="all" baseline="0" smtClean="0">
                <a:solidFill>
                  <a:schemeClr val="bg1"/>
                </a:solidFill>
                <a:latin typeface="Arial" charset="0"/>
              </a:defRPr>
            </a:lvl1pPr>
            <a:lvl2pPr marL="254051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84446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589934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811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fi-FI" altLang="fr-FR"/>
              <a:t>Muokkaa tekstin perustyylejä napsauttamalla</a:t>
            </a:r>
          </a:p>
        </p:txBody>
      </p:sp>
      <p:sp>
        <p:nvSpPr>
          <p:cNvPr id="9" name="Titre 4"/>
          <p:cNvSpPr>
            <a:spLocks noGrp="1"/>
          </p:cNvSpPr>
          <p:nvPr>
            <p:ph type="title"/>
          </p:nvPr>
        </p:nvSpPr>
        <p:spPr>
          <a:xfrm>
            <a:off x="291137" y="5138894"/>
            <a:ext cx="6277319" cy="1182169"/>
          </a:xfrm>
          <a:noFill/>
        </p:spPr>
        <p:txBody>
          <a:bodyPr lIns="0" tIns="0" rIns="0" bIns="0"/>
          <a:lstStyle>
            <a:lvl1pPr>
              <a:lnSpc>
                <a:spcPct val="100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r-FR" dirty="0"/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291137" y="10618037"/>
            <a:ext cx="6277319" cy="854416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buNone/>
              <a:defRPr lang="fr-FR" sz="1800" b="0" kern="1200" smtClean="0">
                <a:solidFill>
                  <a:schemeClr val="bg1"/>
                </a:solidFill>
                <a:latin typeface="Arial" charset="0"/>
              </a:defRPr>
            </a:lvl1pPr>
            <a:lvl2pPr marL="254051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84446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589934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811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fi-FI" altLang="fr-FR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405763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6"/>
          <p:cNvSpPr>
            <a:spLocks noGrp="1"/>
          </p:cNvSpPr>
          <p:nvPr>
            <p:ph sz="quarter" idx="13"/>
          </p:nvPr>
        </p:nvSpPr>
        <p:spPr>
          <a:xfrm>
            <a:off x="353701" y="2816736"/>
            <a:ext cx="3018933" cy="850651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490531" y="2816743"/>
            <a:ext cx="3018934" cy="8507257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6" y="1682493"/>
            <a:ext cx="6154725" cy="659041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1C193A1-A3DF-49B0-877C-459ADA805738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118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95CAE50-4524-40DC-A7F6-82185BF98293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3782" y="2816735"/>
            <a:ext cx="1974430" cy="8490151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6" y="1682493"/>
            <a:ext cx="6154725" cy="659041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53784" y="719600"/>
            <a:ext cx="6154725" cy="961914"/>
          </a:xfrm>
        </p:spPr>
        <p:txBody>
          <a:bodyPr/>
          <a:lstStyle/>
          <a:p>
            <a:r>
              <a:rPr lang="fi-FI"/>
              <a:t>Muokkaa perustyyl. napsautt.</a:t>
            </a:r>
            <a:endParaRPr lang="en-AU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16"/>
          </p:nvPr>
        </p:nvSpPr>
        <p:spPr>
          <a:xfrm>
            <a:off x="2441812" y="2816735"/>
            <a:ext cx="1974157" cy="8490151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17"/>
          </p:nvPr>
        </p:nvSpPr>
        <p:spPr>
          <a:xfrm>
            <a:off x="4533763" y="2816735"/>
            <a:ext cx="1974157" cy="8490151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0974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3E9E8-5229-448C-92D7-7EDBA58BBD63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Content Placeholder 6"/>
          <p:cNvSpPr>
            <a:spLocks noGrp="1"/>
          </p:cNvSpPr>
          <p:nvPr>
            <p:ph sz="quarter" idx="13"/>
          </p:nvPr>
        </p:nvSpPr>
        <p:spPr>
          <a:xfrm>
            <a:off x="353703" y="2816749"/>
            <a:ext cx="6155766" cy="4086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6" y="1682493"/>
            <a:ext cx="6154725" cy="659041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6"/>
          </p:nvPr>
        </p:nvSpPr>
        <p:spPr>
          <a:xfrm>
            <a:off x="353703" y="7207339"/>
            <a:ext cx="6155766" cy="409404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869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Highl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53786" y="2893554"/>
            <a:ext cx="6154725" cy="8416058"/>
          </a:xfrm>
          <a:solidFill>
            <a:schemeClr val="accent1"/>
          </a:solidFill>
          <a:ln w="57150">
            <a:noFill/>
            <a:miter lim="800000"/>
          </a:ln>
        </p:spPr>
        <p:txBody>
          <a:bodyPr lIns="206441" tIns="144029" rIns="206441" bIns="206441">
            <a:normAutofit/>
          </a:bodyPr>
          <a:lstStyle>
            <a:lvl1pPr marL="0" indent="0">
              <a:buNone/>
              <a:defRPr sz="2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title in one line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0E3178B-D267-4C99-917E-03F9CC27BB14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70410" y="4899419"/>
            <a:ext cx="139335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1980392" y="4899419"/>
            <a:ext cx="1392241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489337" y="4899419"/>
            <a:ext cx="139352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7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4998213" y="4899419"/>
            <a:ext cx="139352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423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High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74163" y="2961848"/>
            <a:ext cx="6113867" cy="8270953"/>
          </a:xfrm>
          <a:ln w="57150">
            <a:solidFill>
              <a:schemeClr val="accent1"/>
            </a:solidFill>
            <a:miter lim="800000"/>
          </a:ln>
        </p:spPr>
        <p:txBody>
          <a:bodyPr lIns="168034" tIns="105621" rIns="206441" bIns="206441">
            <a:normAutofit/>
          </a:bodyPr>
          <a:lstStyle>
            <a:lvl1pPr marL="0" indent="0">
              <a:buNone/>
              <a:defRPr sz="2900" b="1"/>
            </a:lvl1pPr>
          </a:lstStyle>
          <a:p>
            <a:pPr lvl="0"/>
            <a:r>
              <a:rPr lang="en-US" dirty="0"/>
              <a:t>[Subtitle in one line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7F087E-5BD3-4EC1-942E-1F213AD2703B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70410" y="4899419"/>
            <a:ext cx="139335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1980392" y="4899419"/>
            <a:ext cx="1392241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7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489337" y="4899419"/>
            <a:ext cx="139352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8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4998213" y="4899419"/>
            <a:ext cx="139352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28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Highligh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53786" y="2893554"/>
            <a:ext cx="6154725" cy="8416058"/>
          </a:xfrm>
          <a:solidFill>
            <a:schemeClr val="accent4"/>
          </a:solidFill>
          <a:ln w="57150">
            <a:noFill/>
            <a:miter lim="800000"/>
          </a:ln>
        </p:spPr>
        <p:txBody>
          <a:bodyPr lIns="206441" tIns="144029" rIns="206441" bIns="206441">
            <a:normAutofit/>
          </a:bodyPr>
          <a:lstStyle>
            <a:lvl1pPr marL="0" indent="0">
              <a:buNone/>
              <a:defRPr sz="29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Subtitle in one line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0373716-036B-4B0F-84B6-974780427D9E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70410" y="4899419"/>
            <a:ext cx="139335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7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1980392" y="4899419"/>
            <a:ext cx="1392241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20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489337" y="4899419"/>
            <a:ext cx="139352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21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4998213" y="4899419"/>
            <a:ext cx="139352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7418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Highligh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75389" y="2961848"/>
            <a:ext cx="6114215" cy="8270953"/>
          </a:xfrm>
          <a:ln w="57150">
            <a:solidFill>
              <a:schemeClr val="accent4"/>
            </a:solidFill>
            <a:miter lim="800000"/>
          </a:ln>
        </p:spPr>
        <p:txBody>
          <a:bodyPr lIns="168034" tIns="105621" rIns="206441" bIns="206441">
            <a:normAutofit/>
          </a:bodyPr>
          <a:lstStyle>
            <a:lvl1pPr marL="0" indent="0">
              <a:buNone/>
              <a:defRPr sz="2900" b="1"/>
            </a:lvl1pPr>
          </a:lstStyle>
          <a:p>
            <a:pPr lvl="0"/>
            <a:r>
              <a:rPr lang="en-US" dirty="0"/>
              <a:t>[Subtitle in one line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A21421A-D662-4885-A449-684C0224372C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70410" y="4899419"/>
            <a:ext cx="139335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1980392" y="4899419"/>
            <a:ext cx="1392241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9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489337" y="4899419"/>
            <a:ext cx="139352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20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4998213" y="4899419"/>
            <a:ext cx="139352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696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 &amp; Fea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2908179" y="2890719"/>
            <a:ext cx="3600244" cy="8416177"/>
          </a:xfrm>
          <a:solidFill>
            <a:schemeClr val="accent1"/>
          </a:solidFill>
        </p:spPr>
        <p:txBody>
          <a:bodyPr lIns="206441" tIns="182436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912404B-1B76-4F4E-B07E-90E9FB124A2C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04" y="2890719"/>
            <a:ext cx="2438964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6" y="1681513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3222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d Title, Pic &amp; Fea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2908179" y="2890719"/>
            <a:ext cx="3600244" cy="8416177"/>
          </a:xfrm>
          <a:solidFill>
            <a:schemeClr val="accent1"/>
          </a:solidFill>
        </p:spPr>
        <p:txBody>
          <a:bodyPr lIns="206441" tIns="182436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74B37C6-2E31-448D-9B1F-3A58CDCBF198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04" y="2890719"/>
            <a:ext cx="2438964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6" y="1681513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44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ic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490534" y="2816734"/>
            <a:ext cx="3017976" cy="8492878"/>
          </a:xfrm>
          <a:noFill/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4" y="2890726"/>
            <a:ext cx="3019299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353785" y="7297471"/>
            <a:ext cx="3018849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18E392-E7C1-4D18-8BEA-E76DE3EC6347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A295C"/>
                </a:solidFill>
              </a:rPr>
              <a:t>Sodexo - Title</a:t>
            </a:r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43890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Slide_blue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3" descr="C:\Users\catherine.huon.ext\Documents\4_1_1_presentations_Powerpoint\Format 16_9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r:link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81" y="890329"/>
            <a:ext cx="6860350" cy="25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Espace réservé du texte 7"/>
          <p:cNvSpPr>
            <a:spLocks noGrp="1"/>
          </p:cNvSpPr>
          <p:nvPr>
            <p:ph type="body" sz="quarter" idx="12"/>
          </p:nvPr>
        </p:nvSpPr>
        <p:spPr bwMode="gray">
          <a:xfrm>
            <a:off x="2664636" y="1261519"/>
            <a:ext cx="3944742" cy="414266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Ins="96019" anchor="ctr"/>
          <a:lstStyle>
            <a:lvl1pPr marL="0" indent="0" algn="r">
              <a:buNone/>
              <a:defRPr lang="fr-FR" sz="1200" b="1" kern="1200" cap="all" baseline="0" smtClean="0">
                <a:solidFill>
                  <a:schemeClr val="bg1"/>
                </a:solidFill>
                <a:latin typeface="Arial" charset="0"/>
              </a:defRPr>
            </a:lvl1pPr>
            <a:lvl2pPr marL="254051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84446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589934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811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fi-FI" altLang="fr-FR"/>
              <a:t>Muokkaa tekstin perustyylejä napsauttamalla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3801" y="1664434"/>
            <a:ext cx="1104782" cy="1496943"/>
          </a:xfrm>
          <a:prstGeom prst="rect">
            <a:avLst/>
          </a:prstGeom>
        </p:spPr>
      </p:pic>
      <p:sp>
        <p:nvSpPr>
          <p:cNvPr id="7" name="Titre 4"/>
          <p:cNvSpPr>
            <a:spLocks noGrp="1"/>
          </p:cNvSpPr>
          <p:nvPr>
            <p:ph type="title"/>
          </p:nvPr>
        </p:nvSpPr>
        <p:spPr>
          <a:xfrm>
            <a:off x="3828219" y="3836921"/>
            <a:ext cx="2929043" cy="3232187"/>
          </a:xfrm>
          <a:solidFill>
            <a:schemeClr val="accent1"/>
          </a:solidFill>
        </p:spPr>
        <p:txBody>
          <a:bodyPr lIns="0" tIns="0" rIns="108000" bIns="0" anchor="ctr">
            <a:normAutofit/>
          </a:bodyPr>
          <a:lstStyle>
            <a:lvl1pPr algn="r">
              <a:lnSpc>
                <a:spcPct val="100000"/>
              </a:lnSpc>
              <a:tabLst>
                <a:tab pos="5022850" algn="l"/>
              </a:tabLst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14006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387814" y="2941521"/>
            <a:ext cx="3109740" cy="8314174"/>
          </a:xfrm>
          <a:noFill/>
          <a:ln w="38100" cap="flat" cmpd="sng" algn="ctr">
            <a:solidFill>
              <a:srgbClr val="3CDCC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192038" tIns="110422" rIns="206441" bIns="206441">
            <a:normAutofit/>
          </a:bodyPr>
          <a:lstStyle>
            <a:lvl1pPr marL="0" indent="0">
              <a:buNone/>
              <a:defRPr sz="2900" i="1">
                <a:solidFill>
                  <a:schemeClr val="accent1"/>
                </a:solidFill>
              </a:defRPr>
            </a:lvl1pPr>
            <a:lvl2pPr>
              <a:defRPr sz="2700">
                <a:solidFill>
                  <a:schemeClr val="accent1"/>
                </a:solidFill>
              </a:defRPr>
            </a:lvl2pPr>
            <a:lvl3pPr>
              <a:defRPr sz="27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[Enter text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F36CA68-1409-4AD2-881A-8885B4FA2506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5" y="2890719"/>
            <a:ext cx="1393269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1869303" y="7302047"/>
            <a:ext cx="1393354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869297" y="2890726"/>
            <a:ext cx="1393354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679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 &amp;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372632" y="2746184"/>
            <a:ext cx="3135876" cy="8560709"/>
          </a:xfrm>
          <a:noFill/>
          <a:ln w="38100">
            <a:noFill/>
          </a:ln>
        </p:spPr>
        <p:txBody>
          <a:bodyPr lIns="0" tIns="0" rIns="0" bIns="0">
            <a:normAutofit/>
          </a:bodyPr>
          <a:lstStyle>
            <a:lvl1pPr marL="0" indent="0">
              <a:buNone/>
              <a:defRPr sz="2900" i="1">
                <a:solidFill>
                  <a:schemeClr val="accent1"/>
                </a:solidFill>
              </a:defRPr>
            </a:lvl1pPr>
            <a:lvl2pPr>
              <a:defRPr sz="2700">
                <a:solidFill>
                  <a:schemeClr val="accent1"/>
                </a:solidFill>
              </a:defRPr>
            </a:lvl2pPr>
            <a:lvl3pPr>
              <a:defRPr sz="27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[Enter text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E65F2A-BCF8-4B3B-B037-1C79B03C5339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5" y="2890719"/>
            <a:ext cx="1393523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1876935" y="7340578"/>
            <a:ext cx="1371918" cy="3936195"/>
          </a:xfrm>
          <a:solidFill>
            <a:schemeClr val="accent3">
              <a:lumMod val="20000"/>
              <a:lumOff val="80000"/>
            </a:schemeClr>
          </a:solidFill>
          <a:ln w="38100" cap="flat" cmpd="sng" algn="ctr">
            <a:solidFill>
              <a:srgbClr val="3CDCC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868833" y="2890726"/>
            <a:ext cx="1392498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73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 &amp;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384899" y="2941526"/>
            <a:ext cx="3123611" cy="8313632"/>
          </a:xfrm>
          <a:noFill/>
          <a:ln w="38100">
            <a:solidFill>
              <a:schemeClr val="accent1"/>
            </a:solidFill>
            <a:miter lim="800000"/>
          </a:ln>
        </p:spPr>
        <p:txBody>
          <a:bodyPr lIns="206441" tIns="120024" rIns="206441" bIns="206441">
            <a:normAutofit/>
          </a:bodyPr>
          <a:lstStyle>
            <a:lvl1pPr marL="0" indent="0">
              <a:buNone/>
              <a:defRPr sz="2900" i="1">
                <a:solidFill>
                  <a:schemeClr val="accent1"/>
                </a:solidFill>
              </a:defRPr>
            </a:lvl1pPr>
            <a:lvl2pPr>
              <a:defRPr sz="2700">
                <a:solidFill>
                  <a:schemeClr val="accent1"/>
                </a:solidFill>
              </a:defRPr>
            </a:lvl2pPr>
            <a:lvl3pPr>
              <a:defRPr sz="27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[Enter text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AF309DC-694D-46D1-B519-82FCF0081400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5" y="2890719"/>
            <a:ext cx="1393269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1869303" y="7302047"/>
            <a:ext cx="1393354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869297" y="2890726"/>
            <a:ext cx="1393354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923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 &amp;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B85E0E3-0E27-4102-B356-EFF440F45CBA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372632" y="2746184"/>
            <a:ext cx="3135876" cy="8560709"/>
          </a:xfrm>
          <a:noFill/>
          <a:ln w="38100">
            <a:noFill/>
          </a:ln>
        </p:spPr>
        <p:txBody>
          <a:bodyPr lIns="0" tIns="0" rIns="0" bIns="0">
            <a:normAutofit/>
          </a:bodyPr>
          <a:lstStyle>
            <a:lvl1pPr marL="0" indent="0">
              <a:buNone/>
              <a:defRPr sz="2900" i="1">
                <a:solidFill>
                  <a:schemeClr val="accent1"/>
                </a:solidFill>
              </a:defRPr>
            </a:lvl1pPr>
            <a:lvl2pPr>
              <a:defRPr sz="2700">
                <a:solidFill>
                  <a:schemeClr val="accent1"/>
                </a:solidFill>
              </a:defRPr>
            </a:lvl2pPr>
            <a:lvl3pPr>
              <a:defRPr sz="27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[Enter text]</a:t>
            </a:r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5" y="2890719"/>
            <a:ext cx="1393523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1876935" y="7340578"/>
            <a:ext cx="1371918" cy="3936195"/>
          </a:xfr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1"/>
            </a:solidFill>
            <a:miter lim="800000"/>
          </a:ln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868833" y="2890726"/>
            <a:ext cx="1392498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544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 &amp;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45AA03C-B620-4378-9934-7DD06C00D280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5" y="2890719"/>
            <a:ext cx="1393269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1869303" y="7302047"/>
            <a:ext cx="1393354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869297" y="2890726"/>
            <a:ext cx="1393354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372632" y="2746184"/>
            <a:ext cx="3135876" cy="8560709"/>
          </a:xfrm>
          <a:noFill/>
          <a:ln w="38100">
            <a:noFill/>
          </a:ln>
        </p:spPr>
        <p:txBody>
          <a:bodyPr lIns="0" tIns="0" rIns="0" bIns="0">
            <a:normAutofit/>
          </a:bodyPr>
          <a:lstStyle>
            <a:lvl1pPr marL="0" indent="0">
              <a:buNone/>
              <a:defRPr sz="2900" i="1">
                <a:solidFill>
                  <a:schemeClr val="accent1"/>
                </a:solidFill>
              </a:defRPr>
            </a:lvl1pPr>
            <a:lvl2pPr>
              <a:defRPr sz="2700">
                <a:solidFill>
                  <a:schemeClr val="accent1"/>
                </a:solidFill>
              </a:defRPr>
            </a:lvl2pPr>
            <a:lvl3pPr>
              <a:defRPr sz="27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[Enter text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655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B72EC46-9B9F-4588-8107-6682C47CB523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699" y="2890726"/>
            <a:ext cx="3019299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3491910" y="2890726"/>
            <a:ext cx="3019299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353698" y="7315287"/>
            <a:ext cx="3019299" cy="399160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20" hasCustomPrompt="1"/>
          </p:nvPr>
        </p:nvSpPr>
        <p:spPr>
          <a:xfrm>
            <a:off x="3491910" y="7315287"/>
            <a:ext cx="3019299" cy="399160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34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32D27FE-F064-40E2-BB90-4CFCCE5BE30E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4894" y="2890724"/>
            <a:ext cx="1973322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354893" y="7315746"/>
            <a:ext cx="1973321" cy="399115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2443732" y="2890724"/>
            <a:ext cx="1974513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2443734" y="7315728"/>
            <a:ext cx="1974512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20" hasCustomPrompt="1"/>
          </p:nvPr>
        </p:nvSpPr>
        <p:spPr>
          <a:xfrm>
            <a:off x="4531384" y="2890715"/>
            <a:ext cx="1974147" cy="4012368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21" hasCustomPrompt="1"/>
          </p:nvPr>
        </p:nvSpPr>
        <p:spPr>
          <a:xfrm>
            <a:off x="4531384" y="7315728"/>
            <a:ext cx="1974147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353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C0DF4D-324E-43B4-9A14-FD7BFB2E648D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6" y="2890726"/>
            <a:ext cx="6154725" cy="8416174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7744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eature Conten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53702" y="2890719"/>
            <a:ext cx="2554482" cy="8416177"/>
          </a:xfrm>
          <a:solidFill>
            <a:schemeClr val="accent1"/>
          </a:solidFill>
        </p:spPr>
        <p:txBody>
          <a:bodyPr lIns="206441" tIns="168034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03608B4-F0B8-4A60-A0EB-D3514A002C5F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3024891" y="2890719"/>
            <a:ext cx="3484575" cy="8416177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0596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eature Conten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53700" y="2890719"/>
            <a:ext cx="3367867" cy="8416177"/>
          </a:xfrm>
          <a:solidFill>
            <a:schemeClr val="accent1"/>
          </a:solidFill>
        </p:spPr>
        <p:txBody>
          <a:bodyPr lIns="206441" tIns="168034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261E1D5-77AE-4D03-AF67-79AAC79AC8F8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3837083" y="2890715"/>
            <a:ext cx="1277396" cy="3605855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2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5232068" y="2893554"/>
            <a:ext cx="1277396" cy="361054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3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3837082" y="6903084"/>
            <a:ext cx="812888" cy="4403812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4768368" y="6903084"/>
            <a:ext cx="812197" cy="4403812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20" hasCustomPrompt="1"/>
          </p:nvPr>
        </p:nvSpPr>
        <p:spPr>
          <a:xfrm>
            <a:off x="5694887" y="6903084"/>
            <a:ext cx="812888" cy="4403812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6" y="1681513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3270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53705" y="2890719"/>
            <a:ext cx="2090029" cy="8416177"/>
          </a:xfrm>
          <a:solidFill>
            <a:srgbClr val="3CDCC8"/>
          </a:solidFill>
        </p:spPr>
        <p:txBody>
          <a:bodyPr lIns="206441" tIns="206441" rIns="206441" bIns="206441"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3703" y="634226"/>
            <a:ext cx="6154725" cy="1048258"/>
          </a:xfrm>
        </p:spPr>
        <p:txBody>
          <a:bodyPr>
            <a:noAutofit/>
          </a:bodyPr>
          <a:lstStyle>
            <a:lvl1pPr marL="719811" indent="-719811">
              <a:buClr>
                <a:schemeClr val="accent2"/>
              </a:buClr>
              <a:buFont typeface="+mj-lt"/>
              <a:buAutoNum type="arabicPeriod"/>
              <a:defRPr sz="4800"/>
            </a:lvl1pPr>
          </a:lstStyle>
          <a:p>
            <a:r>
              <a:rPr lang="fi-FI"/>
              <a:t>Muokkaa perustyyl. napsautt.</a:t>
            </a:r>
            <a:endParaRPr lang="en-AU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2560438" y="2890719"/>
            <a:ext cx="3947987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73442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353786" y="2890719"/>
            <a:ext cx="6154725" cy="8416177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191978" y="7701033"/>
            <a:ext cx="2317493" cy="3605857"/>
          </a:xfrm>
          <a:solidFill>
            <a:schemeClr val="accent1"/>
          </a:solidFill>
        </p:spPr>
        <p:txBody>
          <a:bodyPr lIns="206441" tIns="168034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1A7181C-9B3D-4379-8A45-00A78629EC3C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7353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AEDCB93-FD5F-433F-A48F-09851EAF7589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5230440" y="2893549"/>
            <a:ext cx="1270125" cy="401171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7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5239344" y="7306437"/>
            <a:ext cx="1270124" cy="401171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8" name="Content Placeholder 9"/>
          <p:cNvSpPr>
            <a:spLocks noGrp="1"/>
          </p:cNvSpPr>
          <p:nvPr>
            <p:ph sz="quarter" idx="20" hasCustomPrompt="1"/>
          </p:nvPr>
        </p:nvSpPr>
        <p:spPr>
          <a:xfrm>
            <a:off x="363870" y="2893553"/>
            <a:ext cx="1625777" cy="8413336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9" name="Content Placeholder 9"/>
          <p:cNvSpPr>
            <a:spLocks noGrp="1"/>
          </p:cNvSpPr>
          <p:nvPr>
            <p:ph sz="quarter" idx="21" hasCustomPrompt="1"/>
          </p:nvPr>
        </p:nvSpPr>
        <p:spPr>
          <a:xfrm>
            <a:off x="2095987" y="2893553"/>
            <a:ext cx="1625580" cy="8413336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20" name="Content Placeholder 9"/>
          <p:cNvSpPr>
            <a:spLocks noGrp="1"/>
          </p:cNvSpPr>
          <p:nvPr>
            <p:ph sz="quarter" idx="22" hasCustomPrompt="1"/>
          </p:nvPr>
        </p:nvSpPr>
        <p:spPr>
          <a:xfrm>
            <a:off x="3846174" y="2893549"/>
            <a:ext cx="1269936" cy="401171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21" name="Content Placeholder 9"/>
          <p:cNvSpPr>
            <a:spLocks noGrp="1"/>
          </p:cNvSpPr>
          <p:nvPr>
            <p:ph sz="quarter" idx="23" hasCustomPrompt="1"/>
          </p:nvPr>
        </p:nvSpPr>
        <p:spPr>
          <a:xfrm>
            <a:off x="3846174" y="7302047"/>
            <a:ext cx="1269936" cy="401171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6" y="1681513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5599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9"/>
          <p:cNvSpPr>
            <a:spLocks noGrp="1"/>
          </p:cNvSpPr>
          <p:nvPr>
            <p:ph sz="quarter" idx="22" hasCustomPrompt="1"/>
          </p:nvPr>
        </p:nvSpPr>
        <p:spPr>
          <a:xfrm>
            <a:off x="3614170" y="4087657"/>
            <a:ext cx="2895294" cy="7219239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570482-9FB6-4F27-BDCD-896188E73740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8" name="Content Placeholder 9"/>
          <p:cNvSpPr>
            <a:spLocks noGrp="1"/>
          </p:cNvSpPr>
          <p:nvPr>
            <p:ph sz="quarter" idx="20" hasCustomPrompt="1"/>
          </p:nvPr>
        </p:nvSpPr>
        <p:spPr>
          <a:xfrm>
            <a:off x="361823" y="4087641"/>
            <a:ext cx="1508871" cy="7219245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9" name="Content Placeholder 9"/>
          <p:cNvSpPr>
            <a:spLocks noGrp="1"/>
          </p:cNvSpPr>
          <p:nvPr>
            <p:ph sz="quarter" idx="21" hasCustomPrompt="1"/>
          </p:nvPr>
        </p:nvSpPr>
        <p:spPr>
          <a:xfrm>
            <a:off x="1987405" y="4087657"/>
            <a:ext cx="1510063" cy="7219239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53704" y="3233036"/>
            <a:ext cx="3143764" cy="459405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Chart title]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3614176" y="3233036"/>
            <a:ext cx="2895293" cy="459405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Chart title]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6" y="1681513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210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CD57207-DB23-4543-8644-D690C6A2A948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3698" y="2795622"/>
            <a:ext cx="6155764" cy="1292023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22" hasCustomPrompt="1"/>
          </p:nvPr>
        </p:nvSpPr>
        <p:spPr>
          <a:xfrm>
            <a:off x="353700" y="4475651"/>
            <a:ext cx="6155764" cy="6831234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139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53701" y="2890719"/>
            <a:ext cx="3018933" cy="8416177"/>
          </a:xfrm>
          <a:solidFill>
            <a:schemeClr val="accent1"/>
          </a:solidFill>
          <a:ln w="38100">
            <a:noFill/>
          </a:ln>
        </p:spPr>
        <p:txBody>
          <a:bodyPr lIns="206441" tIns="148830" rIns="206441" bIns="206441">
            <a:normAutofit/>
          </a:bodyPr>
          <a:lstStyle>
            <a:lvl1pPr marL="0" indent="0">
              <a:buNone/>
              <a:defRPr sz="2900" i="1" baseline="0">
                <a:solidFill>
                  <a:schemeClr val="bg1"/>
                </a:solidFill>
              </a:defRPr>
            </a:lvl1pPr>
            <a:lvl2pPr>
              <a:defRPr sz="2700">
                <a:solidFill>
                  <a:schemeClr val="accent1"/>
                </a:solidFill>
              </a:defRPr>
            </a:lvl2pPr>
            <a:lvl3pPr>
              <a:defRPr sz="27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[Quote text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8B763-E33E-413C-9111-4488E431F826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70407" y="10497674"/>
            <a:ext cx="2786708" cy="704847"/>
          </a:xfrm>
        </p:spPr>
        <p:txBody>
          <a:bodyPr/>
          <a:lstStyle>
            <a:lvl1pPr marL="0" indent="0">
              <a:buNone/>
              <a:tabLst>
                <a:tab pos="124909" algn="l"/>
              </a:tabLst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490535" y="2893561"/>
            <a:ext cx="1159937" cy="4361218"/>
          </a:xfrm>
          <a:prstGeom prst="rect">
            <a:avLst/>
          </a:prstGeom>
          <a:solidFill>
            <a:schemeClr val="accent2"/>
          </a:solidFill>
        </p:spPr>
        <p:txBody>
          <a:bodyPr wrap="square" lIns="121944" tIns="60972" rIns="121944" bIns="60972" rtlCol="0">
            <a:spAutoFit/>
          </a:bodyPr>
          <a:lstStyle/>
          <a:p>
            <a:pPr algn="ctr" defTabSz="91440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AU" sz="1800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AU" sz="15300" dirty="0">
                <a:solidFill>
                  <a:srgbClr val="FFFFFF"/>
                </a:solidFill>
                <a:cs typeface="Arial" pitchFamily="34" charset="0"/>
              </a:rPr>
              <a:t>“”</a:t>
            </a:r>
            <a:endParaRPr lang="en-AU" sz="1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9" name="TextBox 8"/>
          <p:cNvSpPr txBox="1"/>
          <p:nvPr userDrawn="1"/>
        </p:nvSpPr>
        <p:spPr>
          <a:xfrm>
            <a:off x="3490535" y="2893561"/>
            <a:ext cx="1159937" cy="4361218"/>
          </a:xfrm>
          <a:prstGeom prst="rect">
            <a:avLst/>
          </a:prstGeom>
          <a:solidFill>
            <a:srgbClr val="3CDCC8"/>
          </a:solidFill>
        </p:spPr>
        <p:txBody>
          <a:bodyPr wrap="square" lIns="121944" tIns="60972" rIns="121944" bIns="60972" rtlCol="0">
            <a:spAutoFit/>
          </a:bodyPr>
          <a:lstStyle/>
          <a:p>
            <a:pPr algn="ctr" defTabSz="91440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AU" sz="1800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AU" sz="15300" dirty="0">
                <a:solidFill>
                  <a:srgbClr val="FFFFFF"/>
                </a:solidFill>
                <a:cs typeface="Arial" pitchFamily="34" charset="0"/>
              </a:rPr>
              <a:t>“”</a:t>
            </a:r>
            <a:endParaRPr lang="en-AU" sz="1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2285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-br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8399CA9-2203-4722-A3AA-6E915D3F12BD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6" y="1681513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2" name="Rectangle 1"/>
          <p:cNvSpPr/>
          <p:nvPr/>
        </p:nvSpPr>
        <p:spPr>
          <a:xfrm>
            <a:off x="353702" y="2890719"/>
            <a:ext cx="1742288" cy="84161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44" tIns="60972" rIns="121944" bIns="60972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AU" sz="1800">
              <a:solidFill>
                <a:srgbClr val="FFFFFF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473268" y="4494151"/>
            <a:ext cx="1510062" cy="5201771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1"/>
          </p:nvPr>
        </p:nvSpPr>
        <p:spPr>
          <a:xfrm>
            <a:off x="2215564" y="2890719"/>
            <a:ext cx="4292867" cy="8416177"/>
          </a:xfrm>
          <a:solidFill>
            <a:schemeClr val="accent1"/>
          </a:solidFill>
        </p:spPr>
        <p:txBody>
          <a:bodyPr lIns="206441" tIns="182436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53702" y="2890719"/>
            <a:ext cx="1742288" cy="84161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44" tIns="60972" rIns="121944" bIns="60972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AU" sz="1800">
              <a:solidFill>
                <a:srgbClr val="FFFFFF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209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-br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2908179" y="2890719"/>
            <a:ext cx="3600244" cy="8416177"/>
          </a:xfrm>
          <a:solidFill>
            <a:schemeClr val="accent1"/>
          </a:solidFill>
        </p:spPr>
        <p:txBody>
          <a:bodyPr lIns="206441" tIns="182436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959C919-E6C7-479F-8096-A0361DF759C7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04" y="2890719"/>
            <a:ext cx="2438964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6" y="1681513"/>
            <a:ext cx="5456976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3701" y="716986"/>
            <a:ext cx="5457898" cy="964518"/>
          </a:xfrm>
        </p:spPr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811600" y="880773"/>
            <a:ext cx="696677" cy="131565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[Logo]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8243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2"/>
          </p:nvPr>
        </p:nvSpPr>
        <p:spPr>
          <a:xfrm>
            <a:off x="357272" y="11475593"/>
            <a:ext cx="1027748" cy="270971"/>
          </a:xfrm>
        </p:spPr>
        <p:txBody>
          <a:bodyPr/>
          <a:lstStyle/>
          <a:p>
            <a:fld id="{CD68B763-E33E-413C-9111-4488E431F826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63790" y="11475584"/>
            <a:ext cx="176775" cy="273139"/>
          </a:xfrm>
        </p:spPr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038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6" y="1681513"/>
            <a:ext cx="5456976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</p:spTree>
    <p:extLst>
      <p:ext uri="{BB962C8B-B14F-4D97-AF65-F5344CB8AC3E}">
        <p14:creationId xmlns:p14="http://schemas.microsoft.com/office/powerpoint/2010/main" val="353037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785986"/>
            <a:ext cx="6859588" cy="18720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71" tIns="54435" rIns="108871" bIns="54435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AU" sz="180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" y="10323157"/>
            <a:ext cx="6859588" cy="18720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71" tIns="54435" rIns="108871" bIns="54435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AU" sz="1800">
              <a:solidFill>
                <a:srgbClr val="FFFFFF"/>
              </a:solidFill>
            </a:endParaRPr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2"/>
          </p:nvPr>
        </p:nvSpPr>
        <p:spPr>
          <a:xfrm>
            <a:off x="357272" y="11475593"/>
            <a:ext cx="1027748" cy="270971"/>
          </a:xfrm>
        </p:spPr>
        <p:txBody>
          <a:bodyPr/>
          <a:lstStyle/>
          <a:p>
            <a:fld id="{CD68B763-E33E-413C-9111-4488E431F826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63790" y="11475584"/>
            <a:ext cx="176775" cy="273139"/>
          </a:xfrm>
        </p:spPr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5578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560437" y="2890719"/>
            <a:ext cx="3949026" cy="8416177"/>
          </a:xfrm>
          <a:solidFill>
            <a:schemeClr val="accent1"/>
          </a:solidFill>
        </p:spPr>
        <p:txBody>
          <a:bodyPr lIns="0" tIns="0" rIns="0" bIns="192038" anchor="b">
            <a:noAutofit/>
          </a:bodyPr>
          <a:lstStyle>
            <a:lvl1pPr marL="0" indent="0" algn="r">
              <a:lnSpc>
                <a:spcPct val="10000"/>
              </a:lnSpc>
              <a:spcBef>
                <a:spcPts val="0"/>
              </a:spcBef>
              <a:spcAft>
                <a:spcPts val="0"/>
              </a:spcAft>
              <a:buNone/>
              <a:defRPr sz="37100" b="1" kern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53702" y="2890719"/>
            <a:ext cx="2090031" cy="8416177"/>
          </a:xfrm>
          <a:solidFill>
            <a:srgbClr val="3CDCC8"/>
          </a:solidFill>
        </p:spPr>
        <p:txBody>
          <a:bodyPr lIns="206441" tIns="206441" rIns="206441" bIns="206441"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3703" y="631637"/>
            <a:ext cx="6155766" cy="1049874"/>
          </a:xfrm>
        </p:spPr>
        <p:txBody>
          <a:bodyPr>
            <a:noAutofit/>
          </a:bodyPr>
          <a:lstStyle>
            <a:lvl1pPr marL="0" indent="0">
              <a:buClr>
                <a:schemeClr val="accent2"/>
              </a:buClr>
              <a:buFont typeface="+mj-lt"/>
              <a:buNone/>
              <a:defRPr sz="4800"/>
            </a:lvl1pPr>
          </a:lstStyle>
          <a:p>
            <a:r>
              <a:rPr lang="fi-FI"/>
              <a:t>Muokkaa perustyyl. napsautt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49867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lide Image / Colou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6859588" cy="121951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260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&amp;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title"/>
          </p:nvPr>
        </p:nvSpPr>
        <p:spPr bwMode="gray">
          <a:xfrm>
            <a:off x="1" y="626714"/>
            <a:ext cx="6859588" cy="804487"/>
          </a:xfrm>
          <a:solidFill>
            <a:schemeClr val="accent2"/>
          </a:solidFill>
          <a:ln>
            <a:noFill/>
          </a:ln>
          <a:effectLst/>
        </p:spPr>
        <p:txBody>
          <a:bodyPr tIns="97200" bIns="97200" anchor="ctr">
            <a:noAutofit/>
          </a:bodyPr>
          <a:lstStyle>
            <a:lvl1pPr marL="182563" indent="0">
              <a:defRPr lang="fr-FR" sz="2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/>
              <a:t>Muokkaa perustyyl. napsautt.</a:t>
            </a:r>
            <a:endParaRPr lang="fr-FR" dirty="0"/>
          </a:p>
        </p:txBody>
      </p:sp>
      <p:pic>
        <p:nvPicPr>
          <p:cNvPr id="10" name="Imag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2616" y="11074479"/>
            <a:ext cx="619812" cy="840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Connecteur droit 7"/>
          <p:cNvCxnSpPr>
            <a:cxnSpLocks noChangeShapeType="1"/>
          </p:cNvCxnSpPr>
          <p:nvPr userDrawn="1"/>
        </p:nvCxnSpPr>
        <p:spPr bwMode="gray">
          <a:xfrm flipH="1">
            <a:off x="4" y="11074462"/>
            <a:ext cx="6859587" cy="0"/>
          </a:xfrm>
          <a:prstGeom prst="line">
            <a:avLst/>
          </a:prstGeom>
          <a:noFill/>
          <a:ln w="12700" cap="flat" cmpd="sng" algn="ctr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Date Placeholder 4"/>
          <p:cNvSpPr>
            <a:spLocks noGrp="1"/>
          </p:cNvSpPr>
          <p:nvPr>
            <p:ph type="dt" sz="half" idx="12"/>
          </p:nvPr>
        </p:nvSpPr>
        <p:spPr>
          <a:xfrm>
            <a:off x="357272" y="11475593"/>
            <a:ext cx="1027748" cy="270971"/>
          </a:xfrm>
        </p:spPr>
        <p:txBody>
          <a:bodyPr/>
          <a:lstStyle/>
          <a:p>
            <a:fld id="{CD68B763-E33E-413C-9111-4488E431F826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63790" y="11475584"/>
            <a:ext cx="176775" cy="273139"/>
          </a:xfrm>
        </p:spPr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43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&amp;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title"/>
          </p:nvPr>
        </p:nvSpPr>
        <p:spPr bwMode="gray">
          <a:xfrm>
            <a:off x="1" y="626714"/>
            <a:ext cx="6859588" cy="804487"/>
          </a:xfrm>
          <a:solidFill>
            <a:schemeClr val="accent1"/>
          </a:solidFill>
          <a:ln>
            <a:noFill/>
          </a:ln>
          <a:effectLst/>
        </p:spPr>
        <p:txBody>
          <a:bodyPr tIns="97200" bIns="97200" anchor="ctr">
            <a:noAutofit/>
          </a:bodyPr>
          <a:lstStyle>
            <a:lvl1pPr marL="182563" indent="0">
              <a:defRPr lang="fr-FR" sz="2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/>
              <a:t>Muokkaa perustyyl. napsautt.</a:t>
            </a:r>
            <a:endParaRPr lang="fr-FR" dirty="0"/>
          </a:p>
        </p:txBody>
      </p:sp>
      <p:pic>
        <p:nvPicPr>
          <p:cNvPr id="10" name="Imag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2616" y="11074479"/>
            <a:ext cx="619812" cy="840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Connecteur droit 7"/>
          <p:cNvCxnSpPr>
            <a:cxnSpLocks noChangeShapeType="1"/>
          </p:cNvCxnSpPr>
          <p:nvPr userDrawn="1"/>
        </p:nvCxnSpPr>
        <p:spPr bwMode="gray">
          <a:xfrm flipH="1">
            <a:off x="4" y="11074462"/>
            <a:ext cx="6859587" cy="0"/>
          </a:xfrm>
          <a:prstGeom prst="line">
            <a:avLst/>
          </a:prstGeom>
          <a:noFill/>
          <a:ln w="12700" cap="flat" cmpd="sng" algn="ctr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Date Placeholder 4"/>
          <p:cNvSpPr>
            <a:spLocks noGrp="1"/>
          </p:cNvSpPr>
          <p:nvPr>
            <p:ph type="dt" sz="half" idx="12"/>
          </p:nvPr>
        </p:nvSpPr>
        <p:spPr>
          <a:xfrm>
            <a:off x="357272" y="11475593"/>
            <a:ext cx="1027748" cy="270971"/>
          </a:xfrm>
        </p:spPr>
        <p:txBody>
          <a:bodyPr/>
          <a:lstStyle/>
          <a:p>
            <a:fld id="{CD68B763-E33E-413C-9111-4488E431F826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63790" y="11475584"/>
            <a:ext cx="176775" cy="273139"/>
          </a:xfrm>
        </p:spPr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847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Slide_blue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716799" y="911646"/>
            <a:ext cx="5425992" cy="10738778"/>
          </a:xfrm>
          <a:prstGeom prst="rect">
            <a:avLst/>
          </a:prstGeom>
          <a:blipFill dpi="0" rotWithShape="1">
            <a:blip r:embed="rId2">
              <a:alphaModFix amt="40000"/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121940" tIns="60970" rIns="121940" bIns="6097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3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052" name="Picture 4" descr="\\psf\Home\Desktop\Untitled-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152261"/>
            <a:ext cx="6859588" cy="2481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Espace réservé du texte 7"/>
          <p:cNvSpPr>
            <a:spLocks noGrp="1"/>
          </p:cNvSpPr>
          <p:nvPr>
            <p:ph type="body" sz="quarter" idx="12"/>
          </p:nvPr>
        </p:nvSpPr>
        <p:spPr bwMode="gray">
          <a:xfrm>
            <a:off x="2306543" y="1487881"/>
            <a:ext cx="3944743" cy="414267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Ins="96019" anchor="ctr"/>
          <a:lstStyle>
            <a:lvl1pPr marL="0" indent="0" algn="r">
              <a:buNone/>
              <a:defRPr lang="fr-FR" sz="1200" b="1" kern="1200" cap="all" baseline="0" smtClean="0">
                <a:solidFill>
                  <a:schemeClr val="bg1"/>
                </a:solidFill>
                <a:latin typeface="Arial" charset="0"/>
              </a:defRPr>
            </a:lvl1pPr>
            <a:lvl2pPr marL="254033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84381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589829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674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fi-FI" altLang="fr-FR"/>
              <a:t>Muokkaa tekstin perustyylejä napsauttamalla</a:t>
            </a:r>
          </a:p>
        </p:txBody>
      </p:sp>
      <p:sp>
        <p:nvSpPr>
          <p:cNvPr id="9" name="Titre 4"/>
          <p:cNvSpPr>
            <a:spLocks noGrp="1"/>
          </p:cNvSpPr>
          <p:nvPr>
            <p:ph type="title"/>
          </p:nvPr>
        </p:nvSpPr>
        <p:spPr>
          <a:xfrm>
            <a:off x="291140" y="5138894"/>
            <a:ext cx="6277319" cy="1182169"/>
          </a:xfrm>
          <a:noFill/>
        </p:spPr>
        <p:txBody>
          <a:bodyPr lIns="0" tIns="0" rIns="0" bIns="0"/>
          <a:lstStyle>
            <a:lvl1pPr>
              <a:lnSpc>
                <a:spcPct val="100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r-FR" dirty="0"/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291140" y="10618038"/>
            <a:ext cx="6277319" cy="854416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buNone/>
              <a:defRPr lang="fr-FR" sz="1800" b="0" kern="1200" smtClean="0">
                <a:solidFill>
                  <a:schemeClr val="bg1"/>
                </a:solidFill>
                <a:latin typeface="Arial" charset="0"/>
              </a:defRPr>
            </a:lvl1pPr>
            <a:lvl2pPr marL="254033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84381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589829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674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fi-FI" altLang="fr-FR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73392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Slide_blue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3" descr="C:\Users\catherine.huon.ext\Documents\4_1_1_presentations_Powerpoint\Format 16_9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r:link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81" y="890329"/>
            <a:ext cx="6860350" cy="2560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Espace réservé du texte 7"/>
          <p:cNvSpPr>
            <a:spLocks noGrp="1"/>
          </p:cNvSpPr>
          <p:nvPr>
            <p:ph type="body" sz="quarter" idx="12"/>
          </p:nvPr>
        </p:nvSpPr>
        <p:spPr bwMode="gray">
          <a:xfrm>
            <a:off x="2664635" y="1261521"/>
            <a:ext cx="3944743" cy="414267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Ins="96019" anchor="ctr"/>
          <a:lstStyle>
            <a:lvl1pPr marL="0" indent="0" algn="r">
              <a:buNone/>
              <a:defRPr lang="fr-FR" sz="1200" b="1" kern="1200" cap="all" baseline="0" smtClean="0">
                <a:solidFill>
                  <a:schemeClr val="bg1"/>
                </a:solidFill>
                <a:latin typeface="Arial" charset="0"/>
              </a:defRPr>
            </a:lvl1pPr>
            <a:lvl2pPr marL="254033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84381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589829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674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fi-FI" altLang="fr-FR"/>
              <a:t>Muokkaa tekstin perustyylejä napsauttamalla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3802" y="1664437"/>
            <a:ext cx="1104782" cy="1496943"/>
          </a:xfrm>
          <a:prstGeom prst="rect">
            <a:avLst/>
          </a:prstGeom>
        </p:spPr>
      </p:pic>
      <p:sp>
        <p:nvSpPr>
          <p:cNvPr id="7" name="Titre 4"/>
          <p:cNvSpPr>
            <a:spLocks noGrp="1"/>
          </p:cNvSpPr>
          <p:nvPr>
            <p:ph type="title"/>
          </p:nvPr>
        </p:nvSpPr>
        <p:spPr>
          <a:xfrm>
            <a:off x="3828221" y="3836924"/>
            <a:ext cx="2929043" cy="3232187"/>
          </a:xfrm>
          <a:solidFill>
            <a:schemeClr val="accent1"/>
          </a:solidFill>
        </p:spPr>
        <p:txBody>
          <a:bodyPr lIns="0" tIns="0" rIns="108000" bIns="0" anchor="ctr">
            <a:normAutofit/>
          </a:bodyPr>
          <a:lstStyle>
            <a:lvl1pPr algn="r">
              <a:lnSpc>
                <a:spcPct val="100000"/>
              </a:lnSpc>
              <a:tabLst>
                <a:tab pos="5022515" algn="l"/>
              </a:tabLst>
              <a:defRPr sz="3199" b="1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48318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53708" y="2890720"/>
            <a:ext cx="2090029" cy="8416176"/>
          </a:xfrm>
          <a:solidFill>
            <a:srgbClr val="3CDCC8"/>
          </a:solidFill>
        </p:spPr>
        <p:txBody>
          <a:bodyPr lIns="206441" tIns="206441" rIns="206441" bIns="206441"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3705" y="634227"/>
            <a:ext cx="6154725" cy="1048258"/>
          </a:xfrm>
        </p:spPr>
        <p:txBody>
          <a:bodyPr>
            <a:noAutofit/>
          </a:bodyPr>
          <a:lstStyle>
            <a:lvl1pPr marL="719763" indent="-719763">
              <a:buClr>
                <a:schemeClr val="accent2"/>
              </a:buClr>
              <a:buFont typeface="+mj-lt"/>
              <a:buAutoNum type="arabicPeriod"/>
              <a:defRPr sz="4800"/>
            </a:lvl1pPr>
          </a:lstStyle>
          <a:p>
            <a:r>
              <a:rPr lang="fi-FI"/>
              <a:t>Muokkaa perustyyl. napsautt.</a:t>
            </a:r>
            <a:endParaRPr lang="en-AU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2560440" y="2890720"/>
            <a:ext cx="3947987" cy="8416176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77996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560437" y="2890720"/>
            <a:ext cx="3949026" cy="8416176"/>
          </a:xfrm>
          <a:solidFill>
            <a:schemeClr val="accent1"/>
          </a:solidFill>
        </p:spPr>
        <p:txBody>
          <a:bodyPr lIns="0" tIns="0" rIns="0" bIns="192038" anchor="b">
            <a:noAutofit/>
          </a:bodyPr>
          <a:lstStyle>
            <a:lvl1pPr marL="0" indent="0" algn="r">
              <a:lnSpc>
                <a:spcPct val="10000"/>
              </a:lnSpc>
              <a:spcBef>
                <a:spcPts val="0"/>
              </a:spcBef>
              <a:spcAft>
                <a:spcPts val="0"/>
              </a:spcAft>
              <a:buNone/>
              <a:defRPr sz="37098" b="1" kern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53703" y="2890720"/>
            <a:ext cx="2090031" cy="8416176"/>
          </a:xfrm>
          <a:solidFill>
            <a:srgbClr val="3CDCC8"/>
          </a:solidFill>
        </p:spPr>
        <p:txBody>
          <a:bodyPr lIns="206441" tIns="206441" rIns="206441" bIns="206441"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3703" y="631638"/>
            <a:ext cx="6155766" cy="1049873"/>
          </a:xfrm>
        </p:spPr>
        <p:txBody>
          <a:bodyPr>
            <a:noAutofit/>
          </a:bodyPr>
          <a:lstStyle>
            <a:lvl1pPr marL="0" indent="0">
              <a:buClr>
                <a:schemeClr val="accent2"/>
              </a:buClr>
              <a:buFont typeface="+mj-lt"/>
              <a:buNone/>
              <a:defRPr sz="4800"/>
            </a:lvl1pPr>
          </a:lstStyle>
          <a:p>
            <a:r>
              <a:rPr lang="fi-FI"/>
              <a:t>Muokkaa perustyyl. napsautt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372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53708" y="2890720"/>
            <a:ext cx="3251159" cy="8416176"/>
          </a:xfrm>
          <a:solidFill>
            <a:srgbClr val="3CDCC8"/>
          </a:solidFill>
        </p:spPr>
        <p:txBody>
          <a:bodyPr lIns="412883" tIns="412883" rIns="412883" bIns="412883" anchor="t">
            <a:noAutofit/>
          </a:bodyPr>
          <a:lstStyle>
            <a:lvl1pPr marL="457261" indent="-457261" algn="l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1"/>
              </a:buClr>
              <a:buFont typeface="+mj-lt"/>
              <a:buAutoNum type="arabicPeriod"/>
              <a:defRPr sz="23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hapters]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ontents or Agenda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58030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rward-looking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1553" y="631633"/>
            <a:ext cx="617791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AU" sz="4800" b="1" dirty="0">
                <a:solidFill>
                  <a:srgbClr val="2A295C"/>
                </a:solidFill>
                <a:cs typeface="Arial" pitchFamily="34" charset="0"/>
              </a:rPr>
              <a:t>Forward-looking Inform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57271" y="2890720"/>
            <a:ext cx="4873165" cy="8416176"/>
          </a:xfrm>
          <a:solidFill>
            <a:schemeClr val="bg2"/>
          </a:solidFill>
        </p:spPr>
        <p:txBody>
          <a:bodyPr lIns="412883" tIns="412883" rIns="412883" bIns="412883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+mj-lt"/>
              <a:buNone/>
              <a:defRPr sz="23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Enter text]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48ECEB3-2D89-428C-B056-BE7E7C804A70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331553" y="631633"/>
            <a:ext cx="617791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AU" sz="4800" b="1" dirty="0">
                <a:solidFill>
                  <a:srgbClr val="2A295C"/>
                </a:solidFill>
                <a:cs typeface="Arial" pitchFamily="34" charset="0"/>
              </a:rPr>
              <a:t>Forward-looking Informatio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34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789" y="719600"/>
            <a:ext cx="6154725" cy="961914"/>
          </a:xfrm>
        </p:spPr>
        <p:txBody>
          <a:bodyPr/>
          <a:lstStyle/>
          <a:p>
            <a:r>
              <a:rPr lang="fi-FI"/>
              <a:t>Muokkaa perustyyl. napsautt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CCE31BD-5899-44F6-AA78-BC986A4BD40B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3789" y="2815440"/>
            <a:ext cx="6154725" cy="8491452"/>
          </a:xfrm>
        </p:spPr>
        <p:txBody>
          <a:bodyPr/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AU" dirty="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553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1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53705" y="2890719"/>
            <a:ext cx="3251159" cy="8416177"/>
          </a:xfrm>
          <a:solidFill>
            <a:srgbClr val="3CDCC8"/>
          </a:solidFill>
        </p:spPr>
        <p:txBody>
          <a:bodyPr lIns="412883" tIns="412883" rIns="412883" bIns="412883" anchor="t">
            <a:noAutofit/>
          </a:bodyPr>
          <a:lstStyle>
            <a:lvl1pPr marL="457291" indent="-457291" algn="l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1"/>
              </a:buClr>
              <a:buFont typeface="+mj-lt"/>
              <a:buAutoNum type="arabicPeriod"/>
              <a:defRPr sz="23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hapters]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ontents or Agenda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16823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A52665D-C77A-4A18-8F4A-95FCF52DD192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3789" y="2816738"/>
            <a:ext cx="6154725" cy="849015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9" y="1681514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53786" y="719600"/>
            <a:ext cx="6154725" cy="961914"/>
          </a:xfrm>
        </p:spPr>
        <p:txBody>
          <a:bodyPr/>
          <a:lstStyle/>
          <a:p>
            <a:r>
              <a:rPr lang="fi-FI"/>
              <a:t>Muokkaa perustyyl. napsautt.</a:t>
            </a:r>
            <a:endParaRPr lang="en-A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91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6"/>
          <p:cNvSpPr>
            <a:spLocks noGrp="1"/>
          </p:cNvSpPr>
          <p:nvPr>
            <p:ph sz="quarter" idx="13"/>
          </p:nvPr>
        </p:nvSpPr>
        <p:spPr>
          <a:xfrm>
            <a:off x="353702" y="2816737"/>
            <a:ext cx="3018934" cy="8506511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490531" y="2816742"/>
            <a:ext cx="3018934" cy="850725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A1BA32A-DA45-4517-82FC-48B3B39CE0C9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5967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6"/>
          <p:cNvSpPr>
            <a:spLocks noGrp="1"/>
          </p:cNvSpPr>
          <p:nvPr>
            <p:ph sz="quarter" idx="13"/>
          </p:nvPr>
        </p:nvSpPr>
        <p:spPr>
          <a:xfrm>
            <a:off x="353702" y="2816737"/>
            <a:ext cx="3018934" cy="8506511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490531" y="2816742"/>
            <a:ext cx="3018934" cy="850725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9" y="1682494"/>
            <a:ext cx="6154725" cy="659041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1C193A1-A3DF-49B0-877C-459ADA805738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8985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95CAE50-4524-40DC-A7F6-82185BF98293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3782" y="2816738"/>
            <a:ext cx="1974430" cy="849015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9" y="1682494"/>
            <a:ext cx="6154725" cy="659041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53786" y="719600"/>
            <a:ext cx="6154725" cy="961914"/>
          </a:xfrm>
        </p:spPr>
        <p:txBody>
          <a:bodyPr/>
          <a:lstStyle/>
          <a:p>
            <a:r>
              <a:rPr lang="fi-FI"/>
              <a:t>Muokkaa perustyyl. napsautt.</a:t>
            </a:r>
            <a:endParaRPr lang="en-AU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16"/>
          </p:nvPr>
        </p:nvSpPr>
        <p:spPr>
          <a:xfrm>
            <a:off x="2441814" y="2816738"/>
            <a:ext cx="1974157" cy="849015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17"/>
          </p:nvPr>
        </p:nvSpPr>
        <p:spPr>
          <a:xfrm>
            <a:off x="4533765" y="2816738"/>
            <a:ext cx="1974157" cy="849015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677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3E9E8-5229-448C-92D7-7EDBA58BBD63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Content Placeholder 6"/>
          <p:cNvSpPr>
            <a:spLocks noGrp="1"/>
          </p:cNvSpPr>
          <p:nvPr>
            <p:ph sz="quarter" idx="13"/>
          </p:nvPr>
        </p:nvSpPr>
        <p:spPr>
          <a:xfrm>
            <a:off x="353703" y="2816749"/>
            <a:ext cx="6155766" cy="4086339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9" y="1682494"/>
            <a:ext cx="6154725" cy="659041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6"/>
          </p:nvPr>
        </p:nvSpPr>
        <p:spPr>
          <a:xfrm>
            <a:off x="353703" y="7207339"/>
            <a:ext cx="6155766" cy="409404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4985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Highl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53789" y="2893555"/>
            <a:ext cx="6154725" cy="8416058"/>
          </a:xfrm>
          <a:solidFill>
            <a:schemeClr val="accent1"/>
          </a:solidFill>
          <a:ln w="57150">
            <a:noFill/>
            <a:miter lim="800000"/>
          </a:ln>
        </p:spPr>
        <p:txBody>
          <a:bodyPr lIns="206441" tIns="144029" rIns="206441" bIns="206441">
            <a:normAutofit/>
          </a:bodyPr>
          <a:lstStyle>
            <a:lvl1pPr marL="0" indent="0">
              <a:buNone/>
              <a:defRPr sz="28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title in one line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0E3178B-D267-4C99-917E-03F9CC27BB14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70412" y="4899419"/>
            <a:ext cx="1393353" cy="520929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1980395" y="4899419"/>
            <a:ext cx="1392241" cy="520929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489337" y="4899419"/>
            <a:ext cx="1393523" cy="520929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7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4998213" y="4899419"/>
            <a:ext cx="1393523" cy="520929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1659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High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74166" y="2961850"/>
            <a:ext cx="6113867" cy="8270953"/>
          </a:xfrm>
          <a:ln w="57150">
            <a:solidFill>
              <a:schemeClr val="accent1"/>
            </a:solidFill>
            <a:miter lim="800000"/>
          </a:ln>
        </p:spPr>
        <p:txBody>
          <a:bodyPr lIns="168034" tIns="105621" rIns="206441" bIns="206441">
            <a:normAutofit/>
          </a:bodyPr>
          <a:lstStyle>
            <a:lvl1pPr marL="0" indent="0">
              <a:buNone/>
              <a:defRPr sz="2899" b="1"/>
            </a:lvl1pPr>
          </a:lstStyle>
          <a:p>
            <a:pPr lvl="0"/>
            <a:r>
              <a:rPr lang="en-US" dirty="0"/>
              <a:t>[Subtitle in one line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7F087E-5BD3-4EC1-942E-1F213AD2703B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70412" y="4899419"/>
            <a:ext cx="1393353" cy="5209298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1980395" y="4899419"/>
            <a:ext cx="1392241" cy="5209298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7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489337" y="4899419"/>
            <a:ext cx="1393523" cy="5209298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8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4998213" y="4899419"/>
            <a:ext cx="1393523" cy="5209298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433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Highligh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53789" y="2893555"/>
            <a:ext cx="6154725" cy="8416058"/>
          </a:xfrm>
          <a:solidFill>
            <a:schemeClr val="accent4"/>
          </a:solidFill>
          <a:ln w="57150">
            <a:noFill/>
            <a:miter lim="800000"/>
          </a:ln>
        </p:spPr>
        <p:txBody>
          <a:bodyPr lIns="206441" tIns="144029" rIns="206441" bIns="206441">
            <a:normAutofit/>
          </a:bodyPr>
          <a:lstStyle>
            <a:lvl1pPr marL="0" indent="0">
              <a:buNone/>
              <a:defRPr sz="28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Subtitle in one line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0373716-036B-4B0F-84B6-974780427D9E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70412" y="4899419"/>
            <a:ext cx="1393353" cy="5209298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7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1980395" y="4899419"/>
            <a:ext cx="1392241" cy="5209298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20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489337" y="4899419"/>
            <a:ext cx="1393523" cy="5209298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21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4998213" y="4899419"/>
            <a:ext cx="1393523" cy="5209298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561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Highligh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75391" y="2961850"/>
            <a:ext cx="6114215" cy="8270953"/>
          </a:xfrm>
          <a:ln w="57150">
            <a:solidFill>
              <a:schemeClr val="accent4"/>
            </a:solidFill>
            <a:miter lim="800000"/>
          </a:ln>
        </p:spPr>
        <p:txBody>
          <a:bodyPr lIns="168034" tIns="105621" rIns="206441" bIns="206441">
            <a:normAutofit/>
          </a:bodyPr>
          <a:lstStyle>
            <a:lvl1pPr marL="0" indent="0">
              <a:buNone/>
              <a:defRPr sz="2899" b="1"/>
            </a:lvl1pPr>
          </a:lstStyle>
          <a:p>
            <a:pPr lvl="0"/>
            <a:r>
              <a:rPr lang="en-US" dirty="0"/>
              <a:t>[Subtitle in one line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A21421A-D662-4885-A449-684C0224372C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70412" y="4899419"/>
            <a:ext cx="1393353" cy="5209298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1980395" y="4899419"/>
            <a:ext cx="1392241" cy="5209298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9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489337" y="4899419"/>
            <a:ext cx="1393523" cy="5209298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20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4998213" y="4899419"/>
            <a:ext cx="1393523" cy="5209298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9003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 &amp; Fea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2908179" y="2890720"/>
            <a:ext cx="3600244" cy="8416176"/>
          </a:xfrm>
          <a:solidFill>
            <a:schemeClr val="accent1"/>
          </a:solidFill>
        </p:spPr>
        <p:txBody>
          <a:bodyPr lIns="206441" tIns="182436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912404B-1B76-4F4E-B07E-90E9FB124A2C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03" y="2890720"/>
            <a:ext cx="2438965" cy="8416176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9" y="1681514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148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rward-looking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1551" y="631631"/>
            <a:ext cx="617791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AU" sz="4800" b="1" dirty="0">
                <a:solidFill>
                  <a:srgbClr val="2A295C"/>
                </a:solidFill>
                <a:cs typeface="Arial" pitchFamily="34" charset="0"/>
              </a:rPr>
              <a:t>Forward-looking Inform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57270" y="2890719"/>
            <a:ext cx="4873166" cy="8416177"/>
          </a:xfrm>
          <a:solidFill>
            <a:schemeClr val="bg2"/>
          </a:solidFill>
        </p:spPr>
        <p:txBody>
          <a:bodyPr lIns="412883" tIns="412883" rIns="412883" bIns="412883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+mj-lt"/>
              <a:buNone/>
              <a:defRPr sz="23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Enter text]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48ECEB3-2D89-428C-B056-BE7E7C804A70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331551" y="631631"/>
            <a:ext cx="617791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AU" sz="4800" b="1" dirty="0">
                <a:solidFill>
                  <a:srgbClr val="2A295C"/>
                </a:solidFill>
                <a:cs typeface="Arial" pitchFamily="34" charset="0"/>
              </a:rPr>
              <a:t>Forward-looking Informatio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365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d Title, Pic &amp; Fea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2908179" y="2890720"/>
            <a:ext cx="3600244" cy="8416176"/>
          </a:xfrm>
          <a:solidFill>
            <a:schemeClr val="accent1"/>
          </a:solidFill>
        </p:spPr>
        <p:txBody>
          <a:bodyPr lIns="206441" tIns="182436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74B37C6-2E31-448D-9B1F-3A58CDCBF198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03" y="2890720"/>
            <a:ext cx="2438965" cy="8416176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9" y="1681514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701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ic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490533" y="2816735"/>
            <a:ext cx="3017976" cy="8492878"/>
          </a:xfrm>
          <a:noFill/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6" y="2890728"/>
            <a:ext cx="3019299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353785" y="7297471"/>
            <a:ext cx="3018850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18E392-E7C1-4D18-8BEA-E76DE3EC6347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A295C"/>
                </a:solidFill>
              </a:rPr>
              <a:t>Sodexo - Title</a:t>
            </a:r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13902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387814" y="2941521"/>
            <a:ext cx="3109740" cy="8314174"/>
          </a:xfrm>
          <a:noFill/>
          <a:ln w="38100" cap="flat" cmpd="sng" algn="ctr">
            <a:solidFill>
              <a:srgbClr val="3CDCC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192038" tIns="110422" rIns="206441" bIns="206441">
            <a:normAutofit/>
          </a:bodyPr>
          <a:lstStyle>
            <a:lvl1pPr marL="0" indent="0">
              <a:buNone/>
              <a:defRPr sz="2899" i="1">
                <a:solidFill>
                  <a:schemeClr val="accent1"/>
                </a:solidFill>
              </a:defRPr>
            </a:lvl1pPr>
            <a:lvl2pPr>
              <a:defRPr sz="2699">
                <a:solidFill>
                  <a:schemeClr val="accent1"/>
                </a:solidFill>
              </a:defRPr>
            </a:lvl2pPr>
            <a:lvl3pPr>
              <a:defRPr sz="2699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[Enter text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F36CA68-1409-4AD2-881A-8885B4FA2506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6" y="2890720"/>
            <a:ext cx="1393269" cy="8416176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1869302" y="7302048"/>
            <a:ext cx="1393355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869298" y="2890728"/>
            <a:ext cx="1393355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5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 &amp;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372633" y="2746184"/>
            <a:ext cx="3135877" cy="8560709"/>
          </a:xfrm>
          <a:noFill/>
          <a:ln w="38100">
            <a:noFill/>
          </a:ln>
        </p:spPr>
        <p:txBody>
          <a:bodyPr lIns="0" tIns="0" rIns="0" bIns="0">
            <a:normAutofit/>
          </a:bodyPr>
          <a:lstStyle>
            <a:lvl1pPr marL="0" indent="0">
              <a:buNone/>
              <a:defRPr sz="2899" i="1">
                <a:solidFill>
                  <a:schemeClr val="accent1"/>
                </a:solidFill>
              </a:defRPr>
            </a:lvl1pPr>
            <a:lvl2pPr>
              <a:defRPr sz="2699">
                <a:solidFill>
                  <a:schemeClr val="accent1"/>
                </a:solidFill>
              </a:defRPr>
            </a:lvl2pPr>
            <a:lvl3pPr>
              <a:defRPr sz="2699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[Enter text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E65F2A-BCF8-4B3B-B037-1C79B03C5339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7" y="2890720"/>
            <a:ext cx="1393523" cy="8416176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1876936" y="7340578"/>
            <a:ext cx="1371918" cy="3936195"/>
          </a:xfrm>
          <a:solidFill>
            <a:schemeClr val="accent3">
              <a:lumMod val="20000"/>
              <a:lumOff val="80000"/>
            </a:schemeClr>
          </a:solidFill>
          <a:ln w="38100" cap="flat" cmpd="sng" algn="ctr">
            <a:solidFill>
              <a:srgbClr val="3CDCC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868833" y="2890728"/>
            <a:ext cx="1392498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8944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 &amp;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384901" y="2941528"/>
            <a:ext cx="3123611" cy="8313632"/>
          </a:xfrm>
          <a:noFill/>
          <a:ln w="38100">
            <a:solidFill>
              <a:schemeClr val="accent1"/>
            </a:solidFill>
            <a:miter lim="800000"/>
          </a:ln>
        </p:spPr>
        <p:txBody>
          <a:bodyPr lIns="206441" tIns="120024" rIns="206441" bIns="206441">
            <a:normAutofit/>
          </a:bodyPr>
          <a:lstStyle>
            <a:lvl1pPr marL="0" indent="0">
              <a:buNone/>
              <a:defRPr sz="2899" i="1">
                <a:solidFill>
                  <a:schemeClr val="accent1"/>
                </a:solidFill>
              </a:defRPr>
            </a:lvl1pPr>
            <a:lvl2pPr>
              <a:defRPr sz="2699">
                <a:solidFill>
                  <a:schemeClr val="accent1"/>
                </a:solidFill>
              </a:defRPr>
            </a:lvl2pPr>
            <a:lvl3pPr>
              <a:defRPr sz="2699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[Enter text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AF309DC-694D-46D1-B519-82FCF0081400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6" y="2890720"/>
            <a:ext cx="1393269" cy="8416176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1869302" y="7302048"/>
            <a:ext cx="1393355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869298" y="2890728"/>
            <a:ext cx="1393355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811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 &amp;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B85E0E3-0E27-4102-B356-EFF440F45CBA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372633" y="2746184"/>
            <a:ext cx="3135877" cy="8560709"/>
          </a:xfrm>
          <a:noFill/>
          <a:ln w="38100">
            <a:noFill/>
          </a:ln>
        </p:spPr>
        <p:txBody>
          <a:bodyPr lIns="0" tIns="0" rIns="0" bIns="0">
            <a:normAutofit/>
          </a:bodyPr>
          <a:lstStyle>
            <a:lvl1pPr marL="0" indent="0">
              <a:buNone/>
              <a:defRPr sz="2899" i="1">
                <a:solidFill>
                  <a:schemeClr val="accent1"/>
                </a:solidFill>
              </a:defRPr>
            </a:lvl1pPr>
            <a:lvl2pPr>
              <a:defRPr sz="2699">
                <a:solidFill>
                  <a:schemeClr val="accent1"/>
                </a:solidFill>
              </a:defRPr>
            </a:lvl2pPr>
            <a:lvl3pPr>
              <a:defRPr sz="2699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[Enter text]</a:t>
            </a:r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7" y="2890720"/>
            <a:ext cx="1393523" cy="8416176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1876936" y="7340578"/>
            <a:ext cx="1371918" cy="3936195"/>
          </a:xfr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1"/>
            </a:solidFill>
            <a:miter lim="800000"/>
          </a:ln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868833" y="2890728"/>
            <a:ext cx="1392498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839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 &amp;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45AA03C-B620-4378-9934-7DD06C00D280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6" y="2890720"/>
            <a:ext cx="1393269" cy="8416176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1869302" y="7302048"/>
            <a:ext cx="1393355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869298" y="2890728"/>
            <a:ext cx="1393355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372633" y="2746184"/>
            <a:ext cx="3135877" cy="8560709"/>
          </a:xfrm>
          <a:noFill/>
          <a:ln w="38100">
            <a:noFill/>
          </a:ln>
        </p:spPr>
        <p:txBody>
          <a:bodyPr lIns="0" tIns="0" rIns="0" bIns="0">
            <a:normAutofit/>
          </a:bodyPr>
          <a:lstStyle>
            <a:lvl1pPr marL="0" indent="0">
              <a:buNone/>
              <a:defRPr sz="2899" i="1">
                <a:solidFill>
                  <a:schemeClr val="accent1"/>
                </a:solidFill>
              </a:defRPr>
            </a:lvl1pPr>
            <a:lvl2pPr>
              <a:defRPr sz="2699">
                <a:solidFill>
                  <a:schemeClr val="accent1"/>
                </a:solidFill>
              </a:defRPr>
            </a:lvl2pPr>
            <a:lvl3pPr>
              <a:defRPr sz="2699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[Enter text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90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B72EC46-9B9F-4588-8107-6682C47CB523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699" y="2890728"/>
            <a:ext cx="3019299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3491911" y="2890728"/>
            <a:ext cx="3019299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353698" y="7315289"/>
            <a:ext cx="3019299" cy="399160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20" hasCustomPrompt="1"/>
          </p:nvPr>
        </p:nvSpPr>
        <p:spPr>
          <a:xfrm>
            <a:off x="3491911" y="7315289"/>
            <a:ext cx="3019299" cy="399160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1251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32D27FE-F064-40E2-BB90-4CFCCE5BE30E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4896" y="2890727"/>
            <a:ext cx="1973322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354894" y="7315748"/>
            <a:ext cx="1973321" cy="3991156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2443732" y="2890727"/>
            <a:ext cx="1974513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2443734" y="7315729"/>
            <a:ext cx="1974512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20" hasCustomPrompt="1"/>
          </p:nvPr>
        </p:nvSpPr>
        <p:spPr>
          <a:xfrm>
            <a:off x="4531387" y="2890717"/>
            <a:ext cx="1974146" cy="4012369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21" hasCustomPrompt="1"/>
          </p:nvPr>
        </p:nvSpPr>
        <p:spPr>
          <a:xfrm>
            <a:off x="4531387" y="7315729"/>
            <a:ext cx="1974146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7188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C0DF4D-324E-43B4-9A14-FD7BFB2E648D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9" y="2890728"/>
            <a:ext cx="6154725" cy="8416174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5475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786" y="719600"/>
            <a:ext cx="6154725" cy="961914"/>
          </a:xfrm>
        </p:spPr>
        <p:txBody>
          <a:bodyPr/>
          <a:lstStyle/>
          <a:p>
            <a:r>
              <a:rPr lang="fi-FI"/>
              <a:t>Muokkaa perustyyl. napsautt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CCE31BD-5899-44F6-AA78-BC986A4BD40B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3786" y="2815440"/>
            <a:ext cx="6154725" cy="8491452"/>
          </a:xfrm>
        </p:spPr>
        <p:txBody>
          <a:bodyPr/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AU" dirty="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490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eature Conten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53702" y="2890720"/>
            <a:ext cx="2554482" cy="8416176"/>
          </a:xfrm>
          <a:solidFill>
            <a:schemeClr val="accent1"/>
          </a:solidFill>
        </p:spPr>
        <p:txBody>
          <a:bodyPr lIns="206441" tIns="168034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03608B4-F0B8-4A60-A0EB-D3514A002C5F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3024892" y="2890720"/>
            <a:ext cx="3484575" cy="8416176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393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eature Conten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53700" y="2890720"/>
            <a:ext cx="3367868" cy="8416176"/>
          </a:xfrm>
          <a:solidFill>
            <a:schemeClr val="accent1"/>
          </a:solidFill>
        </p:spPr>
        <p:txBody>
          <a:bodyPr lIns="206441" tIns="168034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261E1D5-77AE-4D03-AF67-79AAC79AC8F8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3837083" y="2890717"/>
            <a:ext cx="1277396" cy="3605855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2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5232069" y="2893553"/>
            <a:ext cx="1277396" cy="361054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3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3837082" y="6903084"/>
            <a:ext cx="812888" cy="4403812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4768370" y="6903084"/>
            <a:ext cx="812197" cy="4403812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20" hasCustomPrompt="1"/>
          </p:nvPr>
        </p:nvSpPr>
        <p:spPr>
          <a:xfrm>
            <a:off x="5694887" y="6903084"/>
            <a:ext cx="812888" cy="4403812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9" y="1681514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7712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353789" y="2890720"/>
            <a:ext cx="6154725" cy="8416176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191980" y="7701035"/>
            <a:ext cx="2317493" cy="3605857"/>
          </a:xfrm>
          <a:solidFill>
            <a:schemeClr val="accent1"/>
          </a:solidFill>
        </p:spPr>
        <p:txBody>
          <a:bodyPr lIns="206441" tIns="168034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1A7181C-9B3D-4379-8A45-00A78629EC3C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2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AEDCB93-FD5F-433F-A48F-09851EAF7589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5230442" y="2893551"/>
            <a:ext cx="1270125" cy="401171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7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5239345" y="7306437"/>
            <a:ext cx="1270123" cy="401171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8" name="Content Placeholder 9"/>
          <p:cNvSpPr>
            <a:spLocks noGrp="1"/>
          </p:cNvSpPr>
          <p:nvPr>
            <p:ph sz="quarter" idx="20" hasCustomPrompt="1"/>
          </p:nvPr>
        </p:nvSpPr>
        <p:spPr>
          <a:xfrm>
            <a:off x="363871" y="2893555"/>
            <a:ext cx="1625776" cy="8413336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9" name="Content Placeholder 9"/>
          <p:cNvSpPr>
            <a:spLocks noGrp="1"/>
          </p:cNvSpPr>
          <p:nvPr>
            <p:ph sz="quarter" idx="21" hasCustomPrompt="1"/>
          </p:nvPr>
        </p:nvSpPr>
        <p:spPr>
          <a:xfrm>
            <a:off x="2095987" y="2893555"/>
            <a:ext cx="1625580" cy="8413336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20" name="Content Placeholder 9"/>
          <p:cNvSpPr>
            <a:spLocks noGrp="1"/>
          </p:cNvSpPr>
          <p:nvPr>
            <p:ph sz="quarter" idx="22" hasCustomPrompt="1"/>
          </p:nvPr>
        </p:nvSpPr>
        <p:spPr>
          <a:xfrm>
            <a:off x="3846173" y="2893551"/>
            <a:ext cx="1269937" cy="401171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21" name="Content Placeholder 9"/>
          <p:cNvSpPr>
            <a:spLocks noGrp="1"/>
          </p:cNvSpPr>
          <p:nvPr>
            <p:ph sz="quarter" idx="23" hasCustomPrompt="1"/>
          </p:nvPr>
        </p:nvSpPr>
        <p:spPr>
          <a:xfrm>
            <a:off x="3846173" y="7302048"/>
            <a:ext cx="1269937" cy="401171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9" y="1681514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1100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9"/>
          <p:cNvSpPr>
            <a:spLocks noGrp="1"/>
          </p:cNvSpPr>
          <p:nvPr>
            <p:ph sz="quarter" idx="22" hasCustomPrompt="1"/>
          </p:nvPr>
        </p:nvSpPr>
        <p:spPr>
          <a:xfrm>
            <a:off x="3614170" y="4087657"/>
            <a:ext cx="2895294" cy="721924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570482-9FB6-4F27-BDCD-896188E73740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8" name="Content Placeholder 9"/>
          <p:cNvSpPr>
            <a:spLocks noGrp="1"/>
          </p:cNvSpPr>
          <p:nvPr>
            <p:ph sz="quarter" idx="20" hasCustomPrompt="1"/>
          </p:nvPr>
        </p:nvSpPr>
        <p:spPr>
          <a:xfrm>
            <a:off x="361826" y="4087641"/>
            <a:ext cx="1508871" cy="7219245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9" name="Content Placeholder 9"/>
          <p:cNvSpPr>
            <a:spLocks noGrp="1"/>
          </p:cNvSpPr>
          <p:nvPr>
            <p:ph sz="quarter" idx="21" hasCustomPrompt="1"/>
          </p:nvPr>
        </p:nvSpPr>
        <p:spPr>
          <a:xfrm>
            <a:off x="1987407" y="4087657"/>
            <a:ext cx="1510063" cy="721924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53705" y="3233036"/>
            <a:ext cx="3143764" cy="459405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Chart title]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3614179" y="3233036"/>
            <a:ext cx="2895293" cy="459405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Chart title]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9" y="1681514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0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CD57207-DB23-4543-8644-D690C6A2A948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3698" y="2795625"/>
            <a:ext cx="6155764" cy="1292023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22" hasCustomPrompt="1"/>
          </p:nvPr>
        </p:nvSpPr>
        <p:spPr>
          <a:xfrm>
            <a:off x="353700" y="4475650"/>
            <a:ext cx="6155764" cy="6831235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Content]</a:t>
            </a:r>
            <a:endParaRPr lang="en-AU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524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53702" y="2890720"/>
            <a:ext cx="3018934" cy="8416176"/>
          </a:xfrm>
          <a:solidFill>
            <a:schemeClr val="accent1"/>
          </a:solidFill>
          <a:ln w="38100">
            <a:noFill/>
          </a:ln>
        </p:spPr>
        <p:txBody>
          <a:bodyPr lIns="206441" tIns="148830" rIns="206441" bIns="206441">
            <a:normAutofit/>
          </a:bodyPr>
          <a:lstStyle>
            <a:lvl1pPr marL="0" indent="0">
              <a:buNone/>
              <a:defRPr sz="2899" i="1" baseline="0">
                <a:solidFill>
                  <a:schemeClr val="bg1"/>
                </a:solidFill>
              </a:defRPr>
            </a:lvl1pPr>
            <a:lvl2pPr>
              <a:defRPr sz="2699">
                <a:solidFill>
                  <a:schemeClr val="accent1"/>
                </a:solidFill>
              </a:defRPr>
            </a:lvl2pPr>
            <a:lvl3pPr>
              <a:defRPr sz="2699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[Quote text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8B763-E33E-413C-9111-4488E431F826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70408" y="10497674"/>
            <a:ext cx="2786708" cy="704848"/>
          </a:xfrm>
        </p:spPr>
        <p:txBody>
          <a:bodyPr/>
          <a:lstStyle>
            <a:lvl1pPr marL="0" indent="0">
              <a:buNone/>
              <a:tabLst>
                <a:tab pos="124901" algn="l"/>
              </a:tabLst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490538" y="2893561"/>
            <a:ext cx="1159937" cy="4360958"/>
          </a:xfrm>
          <a:prstGeom prst="rect">
            <a:avLst/>
          </a:prstGeom>
          <a:solidFill>
            <a:schemeClr val="accent2"/>
          </a:solidFill>
        </p:spPr>
        <p:txBody>
          <a:bodyPr wrap="square" lIns="121940" tIns="60970" rIns="121940" bIns="60970" rtlCol="0">
            <a:spAutoFit/>
          </a:bodyPr>
          <a:lstStyle/>
          <a:p>
            <a:pPr algn="ctr" defTabSz="914339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AU" sz="1800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AU" sz="15299" dirty="0">
                <a:solidFill>
                  <a:srgbClr val="FFFFFF"/>
                </a:solidFill>
                <a:cs typeface="Arial" pitchFamily="34" charset="0"/>
              </a:rPr>
              <a:t>“”</a:t>
            </a:r>
            <a:endParaRPr lang="en-AU" sz="1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9" name="TextBox 8"/>
          <p:cNvSpPr txBox="1"/>
          <p:nvPr userDrawn="1"/>
        </p:nvSpPr>
        <p:spPr>
          <a:xfrm>
            <a:off x="3490538" y="2893561"/>
            <a:ext cx="1159937" cy="4360958"/>
          </a:xfrm>
          <a:prstGeom prst="rect">
            <a:avLst/>
          </a:prstGeom>
          <a:solidFill>
            <a:srgbClr val="3CDCC8"/>
          </a:solidFill>
        </p:spPr>
        <p:txBody>
          <a:bodyPr wrap="square" lIns="121940" tIns="60970" rIns="121940" bIns="60970" rtlCol="0">
            <a:spAutoFit/>
          </a:bodyPr>
          <a:lstStyle/>
          <a:p>
            <a:pPr algn="ctr" defTabSz="914339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AU" sz="1800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AU" sz="15299" dirty="0">
                <a:solidFill>
                  <a:srgbClr val="FFFFFF"/>
                </a:solidFill>
                <a:cs typeface="Arial" pitchFamily="34" charset="0"/>
              </a:rPr>
              <a:t>“”</a:t>
            </a:r>
            <a:endParaRPr lang="en-AU" sz="1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988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-br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8399CA9-2203-4722-A3AA-6E915D3F12BD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9" y="1681514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2" name="Rectangle 1"/>
          <p:cNvSpPr/>
          <p:nvPr/>
        </p:nvSpPr>
        <p:spPr>
          <a:xfrm>
            <a:off x="353704" y="2890720"/>
            <a:ext cx="1742287" cy="84161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40" tIns="60970" rIns="121940" bIns="60970" rtlCol="0" anchor="ctr"/>
          <a:lstStyle/>
          <a:p>
            <a:pPr algn="ctr" defTabSz="914339" fontAlgn="base">
              <a:spcBef>
                <a:spcPct val="0"/>
              </a:spcBef>
              <a:spcAft>
                <a:spcPct val="0"/>
              </a:spcAft>
            </a:pPr>
            <a:endParaRPr lang="en-AU" sz="1800">
              <a:solidFill>
                <a:srgbClr val="FFFFFF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473268" y="4494153"/>
            <a:ext cx="1510062" cy="5201772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1"/>
          </p:nvPr>
        </p:nvSpPr>
        <p:spPr>
          <a:xfrm>
            <a:off x="2215567" y="2890720"/>
            <a:ext cx="4292867" cy="8416176"/>
          </a:xfrm>
          <a:solidFill>
            <a:schemeClr val="accent1"/>
          </a:solidFill>
        </p:spPr>
        <p:txBody>
          <a:bodyPr lIns="206441" tIns="182436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53704" y="2890720"/>
            <a:ext cx="1742287" cy="84161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40" tIns="60970" rIns="121940" bIns="60970" rtlCol="0" anchor="ctr"/>
          <a:lstStyle/>
          <a:p>
            <a:pPr algn="ctr" defTabSz="914339" fontAlgn="base">
              <a:spcBef>
                <a:spcPct val="0"/>
              </a:spcBef>
              <a:spcAft>
                <a:spcPct val="0"/>
              </a:spcAft>
            </a:pPr>
            <a:endParaRPr lang="en-AU" sz="1800">
              <a:solidFill>
                <a:srgbClr val="FFFFFF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501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-br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2908179" y="2890720"/>
            <a:ext cx="3600244" cy="8416176"/>
          </a:xfrm>
          <a:solidFill>
            <a:schemeClr val="accent1"/>
          </a:solidFill>
        </p:spPr>
        <p:txBody>
          <a:bodyPr lIns="206441" tIns="182436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959C919-E6C7-479F-8096-A0361DF759C7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03" y="2890720"/>
            <a:ext cx="2438965" cy="8416176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/>
              <a:t>[Click icon to add picture]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8" y="1681514"/>
            <a:ext cx="5456977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3701" y="716987"/>
            <a:ext cx="5457898" cy="964518"/>
          </a:xfrm>
        </p:spPr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811602" y="880773"/>
            <a:ext cx="696677" cy="131565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[Logo]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1521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2"/>
          </p:nvPr>
        </p:nvSpPr>
        <p:spPr>
          <a:xfrm>
            <a:off x="357274" y="11475596"/>
            <a:ext cx="1027749" cy="270971"/>
          </a:xfrm>
        </p:spPr>
        <p:txBody>
          <a:bodyPr/>
          <a:lstStyle/>
          <a:p>
            <a:fld id="{CD68B763-E33E-413C-9111-4488E431F826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63791" y="11475587"/>
            <a:ext cx="176776" cy="273139"/>
          </a:xfrm>
        </p:spPr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745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A52665D-C77A-4A18-8F4A-95FCF52DD192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3786" y="2816735"/>
            <a:ext cx="6154725" cy="8490151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6" y="1681513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53784" y="719600"/>
            <a:ext cx="6154725" cy="961914"/>
          </a:xfrm>
        </p:spPr>
        <p:txBody>
          <a:bodyPr/>
          <a:lstStyle/>
          <a:p>
            <a:r>
              <a:rPr lang="fi-FI"/>
              <a:t>Muokkaa perustyyl. napsautt.</a:t>
            </a:r>
            <a:endParaRPr lang="en-A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73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8" y="1681514"/>
            <a:ext cx="5456977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[Subtitle]</a:t>
            </a:r>
          </a:p>
        </p:txBody>
      </p:sp>
    </p:spTree>
    <p:extLst>
      <p:ext uri="{BB962C8B-B14F-4D97-AF65-F5344CB8AC3E}">
        <p14:creationId xmlns:p14="http://schemas.microsoft.com/office/powerpoint/2010/main" val="3985740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785986"/>
            <a:ext cx="6859588" cy="18720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68" tIns="54434" rIns="108868" bIns="54434" rtlCol="0" anchor="ctr"/>
          <a:lstStyle/>
          <a:p>
            <a:pPr algn="ctr" defTabSz="914339" fontAlgn="base">
              <a:spcBef>
                <a:spcPct val="0"/>
              </a:spcBef>
              <a:spcAft>
                <a:spcPct val="0"/>
              </a:spcAft>
            </a:pPr>
            <a:endParaRPr lang="en-AU" sz="180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" y="10323157"/>
            <a:ext cx="6859588" cy="18720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68" tIns="54434" rIns="108868" bIns="54434" rtlCol="0" anchor="ctr"/>
          <a:lstStyle/>
          <a:p>
            <a:pPr algn="ctr" defTabSz="914339" fontAlgn="base">
              <a:spcBef>
                <a:spcPct val="0"/>
              </a:spcBef>
              <a:spcAft>
                <a:spcPct val="0"/>
              </a:spcAft>
            </a:pPr>
            <a:endParaRPr lang="en-AU" sz="1800">
              <a:solidFill>
                <a:srgbClr val="FFFFFF"/>
              </a:solidFill>
            </a:endParaRPr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2"/>
          </p:nvPr>
        </p:nvSpPr>
        <p:spPr>
          <a:xfrm>
            <a:off x="357274" y="11475596"/>
            <a:ext cx="1027749" cy="270971"/>
          </a:xfrm>
        </p:spPr>
        <p:txBody>
          <a:bodyPr/>
          <a:lstStyle/>
          <a:p>
            <a:fld id="{CD68B763-E33E-413C-9111-4488E431F826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63791" y="11475587"/>
            <a:ext cx="176776" cy="273139"/>
          </a:xfrm>
        </p:spPr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3293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lide Image / Colou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6859588" cy="121951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3359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&amp;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title"/>
          </p:nvPr>
        </p:nvSpPr>
        <p:spPr bwMode="gray">
          <a:xfrm>
            <a:off x="1" y="626715"/>
            <a:ext cx="6859588" cy="804487"/>
          </a:xfrm>
          <a:solidFill>
            <a:schemeClr val="accent2"/>
          </a:solidFill>
          <a:ln>
            <a:noFill/>
          </a:ln>
          <a:effectLst/>
        </p:spPr>
        <p:txBody>
          <a:bodyPr tIns="97200" bIns="97200" anchor="ctr">
            <a:noAutofit/>
          </a:bodyPr>
          <a:lstStyle>
            <a:lvl1pPr marL="182551" indent="0">
              <a:defRPr lang="fr-FR" sz="279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/>
              <a:t>Muokkaa perustyyl. napsautt.</a:t>
            </a:r>
            <a:endParaRPr lang="fr-FR" dirty="0"/>
          </a:p>
        </p:txBody>
      </p:sp>
      <p:pic>
        <p:nvPicPr>
          <p:cNvPr id="10" name="Imag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2619" y="11074479"/>
            <a:ext cx="619811" cy="840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Connecteur droit 7"/>
          <p:cNvCxnSpPr>
            <a:cxnSpLocks noChangeShapeType="1"/>
          </p:cNvCxnSpPr>
          <p:nvPr userDrawn="1"/>
        </p:nvCxnSpPr>
        <p:spPr bwMode="gray">
          <a:xfrm flipH="1">
            <a:off x="6" y="11074462"/>
            <a:ext cx="6859587" cy="0"/>
          </a:xfrm>
          <a:prstGeom prst="line">
            <a:avLst/>
          </a:prstGeom>
          <a:noFill/>
          <a:ln w="12700" cap="flat" cmpd="sng" algn="ctr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Date Placeholder 4"/>
          <p:cNvSpPr>
            <a:spLocks noGrp="1"/>
          </p:cNvSpPr>
          <p:nvPr>
            <p:ph type="dt" sz="half" idx="12"/>
          </p:nvPr>
        </p:nvSpPr>
        <p:spPr>
          <a:xfrm>
            <a:off x="357274" y="11475596"/>
            <a:ext cx="1027749" cy="270971"/>
          </a:xfrm>
        </p:spPr>
        <p:txBody>
          <a:bodyPr/>
          <a:lstStyle/>
          <a:p>
            <a:fld id="{CD68B763-E33E-413C-9111-4488E431F826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63791" y="11475587"/>
            <a:ext cx="176776" cy="273139"/>
          </a:xfrm>
        </p:spPr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689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&amp;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title"/>
          </p:nvPr>
        </p:nvSpPr>
        <p:spPr bwMode="gray">
          <a:xfrm>
            <a:off x="1" y="626715"/>
            <a:ext cx="6859588" cy="804487"/>
          </a:xfrm>
          <a:solidFill>
            <a:schemeClr val="accent1"/>
          </a:solidFill>
          <a:ln>
            <a:noFill/>
          </a:ln>
          <a:effectLst/>
        </p:spPr>
        <p:txBody>
          <a:bodyPr tIns="97200" bIns="97200" anchor="ctr">
            <a:noAutofit/>
          </a:bodyPr>
          <a:lstStyle>
            <a:lvl1pPr marL="182551" indent="0">
              <a:defRPr lang="fr-FR" sz="279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/>
              <a:t>Muokkaa perustyyl. napsautt.</a:t>
            </a:r>
            <a:endParaRPr lang="fr-FR" dirty="0"/>
          </a:p>
        </p:txBody>
      </p:sp>
      <p:pic>
        <p:nvPicPr>
          <p:cNvPr id="10" name="Imag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2619" y="11074479"/>
            <a:ext cx="619811" cy="840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Connecteur droit 7"/>
          <p:cNvCxnSpPr>
            <a:cxnSpLocks noChangeShapeType="1"/>
          </p:cNvCxnSpPr>
          <p:nvPr userDrawn="1"/>
        </p:nvCxnSpPr>
        <p:spPr bwMode="gray">
          <a:xfrm flipH="1">
            <a:off x="6" y="11074462"/>
            <a:ext cx="6859587" cy="0"/>
          </a:xfrm>
          <a:prstGeom prst="line">
            <a:avLst/>
          </a:prstGeom>
          <a:noFill/>
          <a:ln w="12700" cap="flat" cmpd="sng" algn="ctr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Date Placeholder 4"/>
          <p:cNvSpPr>
            <a:spLocks noGrp="1"/>
          </p:cNvSpPr>
          <p:nvPr>
            <p:ph type="dt" sz="half" idx="12"/>
          </p:nvPr>
        </p:nvSpPr>
        <p:spPr>
          <a:xfrm>
            <a:off x="357274" y="11475596"/>
            <a:ext cx="1027749" cy="270971"/>
          </a:xfrm>
        </p:spPr>
        <p:txBody>
          <a:bodyPr/>
          <a:lstStyle/>
          <a:p>
            <a:fld id="{CD68B763-E33E-413C-9111-4488E431F826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63791" y="11475587"/>
            <a:ext cx="176776" cy="273139"/>
          </a:xfrm>
        </p:spPr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4215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6"/>
          <p:cNvSpPr>
            <a:spLocks noGrp="1"/>
          </p:cNvSpPr>
          <p:nvPr>
            <p:ph sz="quarter" idx="13"/>
          </p:nvPr>
        </p:nvSpPr>
        <p:spPr>
          <a:xfrm>
            <a:off x="353701" y="2816736"/>
            <a:ext cx="3018933" cy="850651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490531" y="2816743"/>
            <a:ext cx="3018934" cy="8507257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A1BA32A-DA45-4517-82FC-48B3B39CE0C9}" type="datetime1">
              <a:rPr lang="sv-SE" smtClean="0">
                <a:solidFill>
                  <a:srgbClr val="2A295C"/>
                </a:solidFill>
              </a:rPr>
              <a:t>2021-06-10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120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9" Type="http://schemas.openxmlformats.org/officeDocument/2006/relationships/slideLayout" Target="../slideLayouts/slideLayout81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34" Type="http://schemas.openxmlformats.org/officeDocument/2006/relationships/slideLayout" Target="../slideLayouts/slideLayout76.xml"/><Relationship Id="rId42" Type="http://schemas.openxmlformats.org/officeDocument/2006/relationships/slideLayout" Target="../slideLayouts/slideLayout84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38" Type="http://schemas.openxmlformats.org/officeDocument/2006/relationships/slideLayout" Target="../slideLayouts/slideLayout80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41" Type="http://schemas.openxmlformats.org/officeDocument/2006/relationships/slideLayout" Target="../slideLayouts/slideLayout83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37" Type="http://schemas.openxmlformats.org/officeDocument/2006/relationships/slideLayout" Target="../slideLayouts/slideLayout79.xml"/><Relationship Id="rId40" Type="http://schemas.openxmlformats.org/officeDocument/2006/relationships/slideLayout" Target="../slideLayouts/slideLayout82.xml"/><Relationship Id="rId45" Type="http://schemas.openxmlformats.org/officeDocument/2006/relationships/tags" Target="../tags/tag6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36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4" Type="http://schemas.openxmlformats.org/officeDocument/2006/relationships/tags" Target="../tags/tag5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slideLayout" Target="../slideLayouts/slideLayout77.xml"/><Relationship Id="rId43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3701" y="716986"/>
            <a:ext cx="6155766" cy="96451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3698" y="2816740"/>
            <a:ext cx="6155764" cy="81000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Modifiez les styles du texte du masque</a:t>
            </a:r>
          </a:p>
          <a:p>
            <a:pPr lvl="1"/>
            <a:r>
              <a:rPr lang="sv-SE" dirty="0"/>
              <a:t>Deuxième niveau</a:t>
            </a:r>
          </a:p>
          <a:p>
            <a:pPr lvl="2"/>
            <a:r>
              <a:rPr lang="sv-SE" dirty="0"/>
              <a:t>Troisième niveau</a:t>
            </a:r>
          </a:p>
          <a:p>
            <a:pPr lvl="3"/>
            <a:r>
              <a:rPr lang="sv-SE" dirty="0"/>
              <a:t>Quatrième niveau</a:t>
            </a:r>
          </a:p>
          <a:p>
            <a:pPr lvl="4"/>
            <a:r>
              <a:rPr lang="sv-SE" dirty="0"/>
              <a:t>Cinquième niveau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790" y="11475584"/>
            <a:ext cx="176775" cy="2731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E917DE0E-AFB1-41FD-BC35-27DB61CA125F}" type="slidenum">
              <a:rPr lang="sv-SE" smtClean="0">
                <a:solidFill>
                  <a:srgbClr val="2A295C"/>
                </a:solidFill>
                <a:cs typeface="Arial" pitchFamily="34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357272" y="11475593"/>
            <a:ext cx="1027748" cy="27097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 b="0">
                <a:solidFill>
                  <a:schemeClr val="accent1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2D058C4D-ED74-4141-8A62-FF876CF891D9}" type="datetime1">
              <a:rPr lang="sv-SE" smtClean="0">
                <a:solidFill>
                  <a:srgbClr val="2A295C"/>
                </a:solidFill>
                <a:cs typeface="Arial" pitchFamily="34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2021-06-10</a:t>
            </a:fld>
            <a:endParaRPr lang="en-AU" dirty="0">
              <a:solidFill>
                <a:srgbClr val="2A295C"/>
              </a:solidFill>
              <a:cs typeface="Arial" pitchFamily="34" charset="0"/>
            </a:endParaRPr>
          </a:p>
        </p:txBody>
      </p:sp>
      <p:sp>
        <p:nvSpPr>
          <p:cNvPr id="4" name="empower - DO NOT DELETE!!!" hidden="1"/>
          <p:cNvSpPr/>
          <p:nvPr>
            <p:custDataLst>
              <p:tags r:id="rId4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44" tIns="60972" rIns="121944" bIns="60972" rtlCol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</a:pPr>
            <a:endParaRPr lang="sv-SE" sz="1800" dirty="0">
              <a:solidFill>
                <a:srgbClr val="FFFFFF"/>
              </a:solidFill>
            </a:endParaRPr>
          </a:p>
        </p:txBody>
      </p:sp>
      <p:sp>
        <p:nvSpPr>
          <p:cNvPr id="8" name="empower - DO NOT DELETE!!!" hidden="1"/>
          <p:cNvSpPr/>
          <p:nvPr>
            <p:custDataLst>
              <p:tags r:id="rId4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44" tIns="60972" rIns="121944" bIns="60972" rtlCol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</a:pPr>
            <a:endParaRPr lang="sv-SE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207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784" r:id="rId2"/>
    <p:sldLayoutId id="2147483687" r:id="rId3"/>
    <p:sldLayoutId id="2147483688" r:id="rId4"/>
    <p:sldLayoutId id="2147483689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  <p:sldLayoutId id="2147483710" r:id="rId25"/>
    <p:sldLayoutId id="2147483711" r:id="rId26"/>
    <p:sldLayoutId id="2147483712" r:id="rId27"/>
    <p:sldLayoutId id="2147483713" r:id="rId28"/>
    <p:sldLayoutId id="2147483714" r:id="rId29"/>
    <p:sldLayoutId id="2147483715" r:id="rId30"/>
    <p:sldLayoutId id="2147483716" r:id="rId31"/>
    <p:sldLayoutId id="2147483717" r:id="rId32"/>
    <p:sldLayoutId id="2147483718" r:id="rId33"/>
    <p:sldLayoutId id="2147483720" r:id="rId34"/>
    <p:sldLayoutId id="2147483721" r:id="rId35"/>
    <p:sldLayoutId id="2147483722" r:id="rId36"/>
    <p:sldLayoutId id="2147483723" r:id="rId37"/>
    <p:sldLayoutId id="2147483785" r:id="rId38"/>
    <p:sldLayoutId id="2147483724" r:id="rId39"/>
    <p:sldLayoutId id="2147483725" r:id="rId40"/>
    <p:sldLayoutId id="2147483782" r:id="rId41"/>
    <p:sldLayoutId id="2147483786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  <p:txStyles>
    <p:titleStyle>
      <a:lvl1pPr algn="l" defTabSz="1088715" rtl="0" eaLnBrk="1" latinLnBrk="0" hangingPunct="1">
        <a:spcBef>
          <a:spcPct val="0"/>
        </a:spcBef>
        <a:buNone/>
        <a:defRPr sz="35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4998" indent="-234998" algn="l" defTabSz="1088715" rtl="0" eaLnBrk="1" latinLnBrk="0" hangingPunct="1">
        <a:spcBef>
          <a:spcPts val="508"/>
        </a:spcBef>
        <a:spcAft>
          <a:spcPts val="508"/>
        </a:spcAft>
        <a:buClr>
          <a:schemeClr val="accent2"/>
        </a:buClr>
        <a:buFont typeface="Wingdings" panose="05000000000000000000" pitchFamily="2" charset="2"/>
        <a:buChar char="§"/>
        <a:defRPr sz="20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84814" indent="-249817" algn="l" defTabSz="1088715" rtl="0" eaLnBrk="1" latinLnBrk="0" hangingPunct="1">
        <a:spcBef>
          <a:spcPts val="253"/>
        </a:spcBef>
        <a:spcAft>
          <a:spcPts val="253"/>
        </a:spcAft>
        <a:buClr>
          <a:schemeClr val="accent2"/>
        </a:buClr>
        <a:buSzPct val="120000"/>
        <a:buFont typeface="Arial" panose="020B0604020202020204" pitchFamily="34" charset="0"/>
        <a:buChar char="›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19811" indent="-234998" algn="l" defTabSz="1088715" rtl="0" eaLnBrk="1" latinLnBrk="0" hangingPunct="1">
        <a:spcBef>
          <a:spcPts val="253"/>
        </a:spcBef>
        <a:spcAft>
          <a:spcPts val="253"/>
        </a:spcAft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344" indent="0" algn="l" defTabSz="1088715" rtl="0" eaLnBrk="1" latinLnBrk="0" hangingPunct="1">
        <a:spcBef>
          <a:spcPts val="508"/>
        </a:spcBef>
        <a:spcAft>
          <a:spcPts val="508"/>
        </a:spcAft>
        <a:buClr>
          <a:schemeClr val="accent1"/>
        </a:buClr>
        <a:buFont typeface="Arial" panose="020B0604020202020204" pitchFamily="34" charset="0"/>
        <a:buNone/>
        <a:defRPr sz="2300" b="1" kern="1200" baseline="0">
          <a:solidFill>
            <a:srgbClr val="7F7F7F"/>
          </a:solidFill>
          <a:latin typeface="+mn-lt"/>
          <a:ea typeface="+mn-ea"/>
          <a:cs typeface="+mn-cs"/>
        </a:defRPr>
      </a:lvl4pPr>
      <a:lvl5pPr marL="0" indent="0" algn="l" defTabSz="1088715" rtl="0" eaLnBrk="1" latinLnBrk="0" hangingPunct="1">
        <a:spcBef>
          <a:spcPts val="253"/>
        </a:spcBef>
        <a:spcAft>
          <a:spcPts val="253"/>
        </a:spcAft>
        <a:buClr>
          <a:schemeClr val="accent1"/>
        </a:buClr>
        <a:buFont typeface="Arial" pitchFamily="34" charset="0"/>
        <a:buNone/>
        <a:defRPr sz="2000" b="1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2993967" indent="-272178" algn="l" defTabSz="108871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8324" indent="-272178" algn="l" defTabSz="108871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682" indent="-272178" algn="l" defTabSz="108871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7039" indent="-272178" algn="l" defTabSz="108871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58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715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073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430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787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145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502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860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8" userDrawn="1">
          <p15:clr>
            <a:srgbClr val="F26B43"/>
          </p15:clr>
        </p15:guide>
        <p15:guide id="2" pos="200" userDrawn="1">
          <p15:clr>
            <a:srgbClr val="F26B43"/>
          </p15:clr>
        </p15:guide>
        <p15:guide id="4" pos="395" userDrawn="1">
          <p15:clr>
            <a:srgbClr val="F26B43"/>
          </p15:clr>
        </p15:guide>
        <p15:guide id="5" pos="491" userDrawn="1">
          <p15:clr>
            <a:srgbClr val="F26B43"/>
          </p15:clr>
        </p15:guide>
        <p15:guide id="6" pos="590" userDrawn="1">
          <p15:clr>
            <a:srgbClr val="F26B43"/>
          </p15:clr>
        </p15:guide>
        <p15:guide id="7" pos="686" userDrawn="1">
          <p15:clr>
            <a:srgbClr val="F26B43"/>
          </p15:clr>
        </p15:guide>
        <p15:guide id="9" pos="785" userDrawn="1">
          <p15:clr>
            <a:srgbClr val="F26B43"/>
          </p15:clr>
        </p15:guide>
        <p15:guide id="10" pos="882" userDrawn="1">
          <p15:clr>
            <a:srgbClr val="F26B43"/>
          </p15:clr>
        </p15:guide>
        <p15:guide id="11" pos="980" userDrawn="1">
          <p15:clr>
            <a:srgbClr val="F26B43"/>
          </p15:clr>
        </p15:guide>
        <p15:guide id="12" pos="1077" userDrawn="1">
          <p15:clr>
            <a:srgbClr val="F26B43"/>
          </p15:clr>
        </p15:guide>
        <p15:guide id="13" pos="1175" userDrawn="1">
          <p15:clr>
            <a:srgbClr val="F26B43"/>
          </p15:clr>
        </p15:guide>
        <p15:guide id="14" pos="1272" userDrawn="1">
          <p15:clr>
            <a:srgbClr val="F26B43"/>
          </p15:clr>
        </p15:guide>
        <p15:guide id="15" pos="1370" userDrawn="1">
          <p15:clr>
            <a:srgbClr val="F26B43"/>
          </p15:clr>
        </p15:guide>
        <p15:guide id="16" pos="1467" userDrawn="1">
          <p15:clr>
            <a:srgbClr val="F26B43"/>
          </p15:clr>
        </p15:guide>
        <p15:guide id="17" pos="1565" userDrawn="1">
          <p15:clr>
            <a:srgbClr val="F26B43"/>
          </p15:clr>
        </p15:guide>
        <p15:guide id="18" pos="1662" userDrawn="1">
          <p15:clr>
            <a:srgbClr val="F26B43"/>
          </p15:clr>
        </p15:guide>
        <p15:guide id="19" pos="1760" userDrawn="1">
          <p15:clr>
            <a:srgbClr val="F26B43"/>
          </p15:clr>
        </p15:guide>
        <p15:guide id="20" pos="1856" userDrawn="1">
          <p15:clr>
            <a:srgbClr val="F26B43"/>
          </p15:clr>
        </p15:guide>
        <p15:guide id="21" pos="1955" userDrawn="1">
          <p15:clr>
            <a:srgbClr val="F26B43"/>
          </p15:clr>
        </p15:guide>
        <p15:guide id="22" pos="2052" userDrawn="1">
          <p15:clr>
            <a:srgbClr val="F26B43"/>
          </p15:clr>
        </p15:guide>
        <p15:guide id="23" pos="2150" userDrawn="1">
          <p15:clr>
            <a:srgbClr val="F26B43"/>
          </p15:clr>
        </p15:guide>
        <p15:guide id="24" pos="2247" userDrawn="1">
          <p15:clr>
            <a:srgbClr val="F26B43"/>
          </p15:clr>
        </p15:guide>
        <p15:guide id="25" pos="2345" userDrawn="1">
          <p15:clr>
            <a:srgbClr val="F26B43"/>
          </p15:clr>
        </p15:guide>
        <p15:guide id="26" pos="2442" userDrawn="1">
          <p15:clr>
            <a:srgbClr val="F26B43"/>
          </p15:clr>
        </p15:guide>
        <p15:guide id="27" pos="2540" userDrawn="1">
          <p15:clr>
            <a:srgbClr val="F26B43"/>
          </p15:clr>
        </p15:guide>
        <p15:guide id="28" pos="2637" userDrawn="1">
          <p15:clr>
            <a:srgbClr val="F26B43"/>
          </p15:clr>
        </p15:guide>
        <p15:guide id="29" pos="2735" userDrawn="1">
          <p15:clr>
            <a:srgbClr val="F26B43"/>
          </p15:clr>
        </p15:guide>
        <p15:guide id="30" pos="2832" userDrawn="1">
          <p15:clr>
            <a:srgbClr val="F26B43"/>
          </p15:clr>
        </p15:guide>
        <p15:guide id="31" pos="2931" userDrawn="1">
          <p15:clr>
            <a:srgbClr val="F26B43"/>
          </p15:clr>
        </p15:guide>
        <p15:guide id="32" pos="3027" userDrawn="1">
          <p15:clr>
            <a:srgbClr val="F26B43"/>
          </p15:clr>
        </p15:guide>
        <p15:guide id="33" pos="3125" userDrawn="1">
          <p15:clr>
            <a:srgbClr val="F26B43"/>
          </p15:clr>
        </p15:guide>
        <p15:guide id="34" pos="3222" userDrawn="1">
          <p15:clr>
            <a:srgbClr val="F26B43"/>
          </p15:clr>
        </p15:guide>
        <p15:guide id="35" pos="3321" userDrawn="1">
          <p15:clr>
            <a:srgbClr val="F26B43"/>
          </p15:clr>
        </p15:guide>
        <p15:guide id="36" pos="3417" userDrawn="1">
          <p15:clr>
            <a:srgbClr val="F26B43"/>
          </p15:clr>
        </p15:guide>
        <p15:guide id="37" pos="3516" userDrawn="1">
          <p15:clr>
            <a:srgbClr val="F26B43"/>
          </p15:clr>
        </p15:guide>
        <p15:guide id="38" pos="3612" userDrawn="1">
          <p15:clr>
            <a:srgbClr val="F26B43"/>
          </p15:clr>
        </p15:guide>
        <p15:guide id="39" pos="3710" userDrawn="1">
          <p15:clr>
            <a:srgbClr val="F26B43"/>
          </p15:clr>
        </p15:guide>
        <p15:guide id="40" pos="3807" userDrawn="1">
          <p15:clr>
            <a:srgbClr val="F26B43"/>
          </p15:clr>
        </p15:guide>
        <p15:guide id="41" pos="4002" userDrawn="1">
          <p15:clr>
            <a:srgbClr val="F26B43"/>
          </p15:clr>
        </p15:guide>
        <p15:guide id="42" pos="4100" userDrawn="1">
          <p15:clr>
            <a:srgbClr val="F26B43"/>
          </p15:clr>
        </p15:guide>
        <p15:guide id="43" pos="4197" userDrawn="1">
          <p15:clr>
            <a:srgbClr val="F26B43"/>
          </p15:clr>
        </p15:guide>
        <p15:guide id="44" pos="4296" userDrawn="1">
          <p15:clr>
            <a:srgbClr val="F26B43"/>
          </p15:clr>
        </p15:guide>
        <p15:guide id="45" pos="4392" userDrawn="1">
          <p15:clr>
            <a:srgbClr val="F26B43"/>
          </p15:clr>
        </p15:guide>
        <p15:guide id="46" pos="4491" userDrawn="1">
          <p15:clr>
            <a:srgbClr val="F26B43"/>
          </p15:clr>
        </p15:guide>
        <p15:guide id="47" pos="4587" userDrawn="1">
          <p15:clr>
            <a:srgbClr val="F26B43"/>
          </p15:clr>
        </p15:guide>
        <p15:guide id="48" pos="4686" userDrawn="1">
          <p15:clr>
            <a:srgbClr val="F26B43"/>
          </p15:clr>
        </p15:guide>
        <p15:guide id="49" pos="4782" userDrawn="1">
          <p15:clr>
            <a:srgbClr val="F26B43"/>
          </p15:clr>
        </p15:guide>
        <p15:guide id="50" pos="4880" userDrawn="1">
          <p15:clr>
            <a:srgbClr val="F26B43"/>
          </p15:clr>
        </p15:guide>
        <p15:guide id="51" pos="4977" userDrawn="1">
          <p15:clr>
            <a:srgbClr val="F26B43"/>
          </p15:clr>
        </p15:guide>
        <p15:guide id="52" pos="5076" userDrawn="1">
          <p15:clr>
            <a:srgbClr val="F26B43"/>
          </p15:clr>
        </p15:guide>
        <p15:guide id="53" pos="5174" userDrawn="1">
          <p15:clr>
            <a:srgbClr val="F26B43"/>
          </p15:clr>
        </p15:guide>
        <p15:guide id="54" pos="5271" userDrawn="1">
          <p15:clr>
            <a:srgbClr val="F26B43"/>
          </p15:clr>
        </p15:guide>
        <p15:guide id="55" pos="5369" userDrawn="1">
          <p15:clr>
            <a:srgbClr val="F26B43"/>
          </p15:clr>
        </p15:guide>
        <p15:guide id="56" pos="5466" userDrawn="1">
          <p15:clr>
            <a:srgbClr val="F26B43"/>
          </p15:clr>
        </p15:guide>
        <p15:guide id="57" pos="5564" userDrawn="1">
          <p15:clr>
            <a:srgbClr val="F26B43"/>
          </p15:clr>
        </p15:guide>
        <p15:guide id="58" pos="5660" userDrawn="1">
          <p15:clr>
            <a:srgbClr val="F26B43"/>
          </p15:clr>
        </p15:guide>
        <p15:guide id="59" orient="horz" pos="234" userDrawn="1">
          <p15:clr>
            <a:srgbClr val="F26B43"/>
          </p15:clr>
        </p15:guide>
        <p15:guide id="60" orient="horz" pos="342" userDrawn="1">
          <p15:clr>
            <a:srgbClr val="F26B43"/>
          </p15:clr>
        </p15:guide>
        <p15:guide id="61" orient="horz" pos="447" userDrawn="1">
          <p15:clr>
            <a:srgbClr val="F26B43"/>
          </p15:clr>
        </p15:guide>
        <p15:guide id="70" orient="horz" pos="1300" userDrawn="1">
          <p15:clr>
            <a:srgbClr val="F26B43"/>
          </p15:clr>
        </p15:guide>
        <p15:guide id="71" orient="horz" pos="1514" userDrawn="1">
          <p15:clr>
            <a:srgbClr val="F26B43"/>
          </p15:clr>
        </p15:guide>
        <p15:guide id="73" orient="horz" pos="1620" userDrawn="1">
          <p15:clr>
            <a:srgbClr val="F26B43"/>
          </p15:clr>
        </p15:guide>
        <p15:guide id="74" orient="horz" pos="1726" userDrawn="1">
          <p15:clr>
            <a:srgbClr val="F26B43"/>
          </p15:clr>
        </p15:guide>
        <p15:guide id="75" orient="horz" pos="1834" userDrawn="1">
          <p15:clr>
            <a:srgbClr val="F26B43"/>
          </p15:clr>
        </p15:guide>
        <p15:guide id="76" orient="horz" pos="1940" userDrawn="1">
          <p15:clr>
            <a:srgbClr val="F26B43"/>
          </p15:clr>
        </p15:guide>
        <p15:guide id="77" orient="horz" pos="2046" userDrawn="1">
          <p15:clr>
            <a:srgbClr val="F26B43"/>
          </p15:clr>
        </p15:guide>
        <p15:guide id="78" orient="horz" pos="2152" userDrawn="1">
          <p15:clr>
            <a:srgbClr val="F26B43"/>
          </p15:clr>
        </p15:guide>
        <p15:guide id="79" orient="horz" pos="2260" userDrawn="1">
          <p15:clr>
            <a:srgbClr val="F26B43"/>
          </p15:clr>
        </p15:guide>
        <p15:guide id="80" orient="horz" pos="2366" userDrawn="1">
          <p15:clr>
            <a:srgbClr val="F26B43"/>
          </p15:clr>
        </p15:guide>
        <p15:guide id="81" orient="horz" pos="2470" userDrawn="1">
          <p15:clr>
            <a:srgbClr val="F26B43"/>
          </p15:clr>
        </p15:guide>
        <p15:guide id="82" orient="horz" pos="2576" userDrawn="1">
          <p15:clr>
            <a:srgbClr val="F26B43"/>
          </p15:clr>
        </p15:guide>
        <p15:guide id="83" orient="horz" pos="2684" userDrawn="1">
          <p15:clr>
            <a:srgbClr val="F26B43"/>
          </p15:clr>
        </p15:guide>
        <p15:guide id="84" orient="horz" pos="2790" userDrawn="1">
          <p15:clr>
            <a:srgbClr val="F26B43"/>
          </p15:clr>
        </p15:guide>
        <p15:guide id="85" orient="horz" pos="2896" userDrawn="1">
          <p15:clr>
            <a:srgbClr val="F26B43"/>
          </p15:clr>
        </p15:guide>
        <p15:guide id="86" orient="horz" pos="3004" userDrawn="1">
          <p15:clr>
            <a:srgbClr val="F26B43"/>
          </p15:clr>
        </p15:guide>
        <p15:guide id="87" orient="horz" pos="3110" userDrawn="1">
          <p15:clr>
            <a:srgbClr val="F26B43"/>
          </p15:clr>
        </p15:guide>
        <p15:guide id="89" orient="horz" pos="555" userDrawn="1">
          <p15:clr>
            <a:srgbClr val="F26B43"/>
          </p15:clr>
        </p15:guide>
        <p15:guide id="90" orient="horz" pos="660" userDrawn="1">
          <p15:clr>
            <a:srgbClr val="F26B43"/>
          </p15:clr>
        </p15:guide>
        <p15:guide id="91" orient="horz" pos="768" userDrawn="1">
          <p15:clr>
            <a:srgbClr val="F26B43"/>
          </p15:clr>
        </p15:guide>
        <p15:guide id="92" orient="horz" pos="873" userDrawn="1">
          <p15:clr>
            <a:srgbClr val="F26B43"/>
          </p15:clr>
        </p15:guide>
        <p15:guide id="93" orient="horz" pos="981" userDrawn="1">
          <p15:clr>
            <a:srgbClr val="F26B43"/>
          </p15:clr>
        </p15:guide>
        <p15:guide id="94" orient="horz" pos="1086" userDrawn="1">
          <p15:clr>
            <a:srgbClr val="F26B43"/>
          </p15:clr>
        </p15:guide>
        <p15:guide id="95" orient="horz" pos="1194" userDrawn="1">
          <p15:clr>
            <a:srgbClr val="F26B43"/>
          </p15:clr>
        </p15:guide>
        <p15:guide id="96" orient="horz" pos="1406" userDrawn="1">
          <p15:clr>
            <a:srgbClr val="F26B43"/>
          </p15:clr>
        </p15:guide>
        <p15:guide id="97" pos="3905" userDrawn="1">
          <p15:clr>
            <a:srgbClr val="F26B43"/>
          </p15:clr>
        </p15:guide>
        <p15:guide id="99" pos="297" userDrawn="1">
          <p15:clr>
            <a:srgbClr val="F26B43"/>
          </p15:clr>
        </p15:guide>
        <p15:guide id="100" pos="10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3701" y="716987"/>
            <a:ext cx="6155766" cy="96451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3698" y="2816742"/>
            <a:ext cx="6155764" cy="81000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Modifiez les styles du texte du masque</a:t>
            </a:r>
          </a:p>
          <a:p>
            <a:pPr lvl="1"/>
            <a:r>
              <a:rPr lang="sv-SE" dirty="0"/>
              <a:t>Deuxième niveau</a:t>
            </a:r>
          </a:p>
          <a:p>
            <a:pPr lvl="2"/>
            <a:r>
              <a:rPr lang="sv-SE" dirty="0"/>
              <a:t>Troisième niveau</a:t>
            </a:r>
          </a:p>
          <a:p>
            <a:pPr lvl="3"/>
            <a:r>
              <a:rPr lang="sv-SE" dirty="0"/>
              <a:t>Quatrième niveau</a:t>
            </a:r>
          </a:p>
          <a:p>
            <a:pPr lvl="4"/>
            <a:r>
              <a:rPr lang="sv-SE" dirty="0"/>
              <a:t>Cinquième niveau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8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791" y="11475587"/>
            <a:ext cx="176776" cy="2731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fld id="{E917DE0E-AFB1-41FD-BC35-27DB61CA125F}" type="slidenum">
              <a:rPr lang="sv-SE" smtClean="0">
                <a:solidFill>
                  <a:srgbClr val="2A295C"/>
                </a:solidFill>
                <a:cs typeface="Arial" pitchFamily="34" charset="0"/>
              </a:rPr>
              <a:pPr defTabSz="91433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357274" y="11475596"/>
            <a:ext cx="1027749" cy="27097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 b="0">
                <a:solidFill>
                  <a:schemeClr val="accent1"/>
                </a:solidFill>
              </a:defRPr>
            </a:lvl1pPr>
          </a:lstStyle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fld id="{2D058C4D-ED74-4141-8A62-FF876CF891D9}" type="datetime1">
              <a:rPr lang="sv-SE" smtClean="0">
                <a:solidFill>
                  <a:srgbClr val="2A295C"/>
                </a:solidFill>
                <a:cs typeface="Arial" pitchFamily="34" charset="0"/>
              </a:rPr>
              <a:pPr defTabSz="914339" fontAlgn="base">
                <a:spcBef>
                  <a:spcPct val="0"/>
                </a:spcBef>
                <a:spcAft>
                  <a:spcPct val="0"/>
                </a:spcAft>
              </a:pPr>
              <a:t>2021-06-10</a:t>
            </a:fld>
            <a:endParaRPr lang="en-AU" dirty="0">
              <a:solidFill>
                <a:srgbClr val="2A295C"/>
              </a:solidFill>
              <a:cs typeface="Arial" pitchFamily="34" charset="0"/>
            </a:endParaRPr>
          </a:p>
        </p:txBody>
      </p:sp>
      <p:sp>
        <p:nvSpPr>
          <p:cNvPr id="4" name="empower - DO NOT DELETE!!!" hidden="1"/>
          <p:cNvSpPr/>
          <p:nvPr>
            <p:custDataLst>
              <p:tags r:id="rId4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40" tIns="60970" rIns="121940" bIns="60970" rtlCol="0" anchor="ctr"/>
          <a:lstStyle/>
          <a:p>
            <a:pPr lvl="0" algn="ctr" defTabSz="914339" fontAlgn="base">
              <a:spcBef>
                <a:spcPct val="0"/>
              </a:spcBef>
              <a:spcAft>
                <a:spcPct val="0"/>
              </a:spcAft>
            </a:pPr>
            <a:endParaRPr lang="sv-SE" sz="1800" dirty="0">
              <a:solidFill>
                <a:srgbClr val="FFFFFF"/>
              </a:solidFill>
            </a:endParaRPr>
          </a:p>
        </p:txBody>
      </p:sp>
      <p:sp>
        <p:nvSpPr>
          <p:cNvPr id="8" name="empower - DO NOT DELETE!!!" hidden="1"/>
          <p:cNvSpPr/>
          <p:nvPr>
            <p:custDataLst>
              <p:tags r:id="rId4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40" tIns="60970" rIns="121940" bIns="60970" rtlCol="0" anchor="ctr"/>
          <a:lstStyle/>
          <a:p>
            <a:pPr lvl="0" algn="ctr" defTabSz="914339" fontAlgn="base">
              <a:spcBef>
                <a:spcPct val="0"/>
              </a:spcBef>
              <a:spcAft>
                <a:spcPct val="0"/>
              </a:spcAft>
            </a:pPr>
            <a:endParaRPr lang="sv-SE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749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  <p:sldLayoutId id="2147483802" r:id="rId15"/>
    <p:sldLayoutId id="2147483803" r:id="rId16"/>
    <p:sldLayoutId id="2147483804" r:id="rId17"/>
    <p:sldLayoutId id="2147483805" r:id="rId18"/>
    <p:sldLayoutId id="2147483806" r:id="rId19"/>
    <p:sldLayoutId id="2147483807" r:id="rId20"/>
    <p:sldLayoutId id="2147483808" r:id="rId21"/>
    <p:sldLayoutId id="2147483809" r:id="rId22"/>
    <p:sldLayoutId id="2147483810" r:id="rId23"/>
    <p:sldLayoutId id="2147483811" r:id="rId24"/>
    <p:sldLayoutId id="2147483812" r:id="rId25"/>
    <p:sldLayoutId id="2147483813" r:id="rId26"/>
    <p:sldLayoutId id="2147483814" r:id="rId27"/>
    <p:sldLayoutId id="2147483815" r:id="rId28"/>
    <p:sldLayoutId id="2147483816" r:id="rId29"/>
    <p:sldLayoutId id="2147483817" r:id="rId30"/>
    <p:sldLayoutId id="2147483818" r:id="rId31"/>
    <p:sldLayoutId id="2147483819" r:id="rId32"/>
    <p:sldLayoutId id="2147483820" r:id="rId33"/>
    <p:sldLayoutId id="2147483821" r:id="rId34"/>
    <p:sldLayoutId id="2147483822" r:id="rId35"/>
    <p:sldLayoutId id="2147483823" r:id="rId36"/>
    <p:sldLayoutId id="2147483824" r:id="rId37"/>
    <p:sldLayoutId id="2147483825" r:id="rId38"/>
    <p:sldLayoutId id="2147483826" r:id="rId39"/>
    <p:sldLayoutId id="2147483827" r:id="rId40"/>
    <p:sldLayoutId id="2147483828" r:id="rId41"/>
    <p:sldLayoutId id="2147483829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/>
  <p:txStyles>
    <p:titleStyle>
      <a:lvl1pPr algn="l" defTabSz="1088643" rtl="0" eaLnBrk="1" latinLnBrk="0" hangingPunct="1">
        <a:spcBef>
          <a:spcPct val="0"/>
        </a:spcBef>
        <a:buNone/>
        <a:defRPr sz="3499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4983" indent="-234983" algn="l" defTabSz="1088643" rtl="0" eaLnBrk="1" latinLnBrk="0" hangingPunct="1">
        <a:spcBef>
          <a:spcPts val="508"/>
        </a:spcBef>
        <a:spcAft>
          <a:spcPts val="508"/>
        </a:spcAft>
        <a:buClr>
          <a:schemeClr val="accent2"/>
        </a:buClr>
        <a:buFont typeface="Wingdings" panose="05000000000000000000" pitchFamily="2" charset="2"/>
        <a:buChar char="§"/>
        <a:defRPr sz="20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84782" indent="-249801" algn="l" defTabSz="1088643" rtl="0" eaLnBrk="1" latinLnBrk="0" hangingPunct="1">
        <a:spcBef>
          <a:spcPts val="253"/>
        </a:spcBef>
        <a:spcAft>
          <a:spcPts val="253"/>
        </a:spcAft>
        <a:buClr>
          <a:schemeClr val="accent2"/>
        </a:buClr>
        <a:buSzPct val="120000"/>
        <a:buFont typeface="Arial" panose="020B0604020202020204" pitchFamily="34" charset="0"/>
        <a:buChar char="›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19763" indent="-234983" algn="l" defTabSz="1088643" rtl="0" eaLnBrk="1" latinLnBrk="0" hangingPunct="1">
        <a:spcBef>
          <a:spcPts val="253"/>
        </a:spcBef>
        <a:spcAft>
          <a:spcPts val="253"/>
        </a:spcAft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344" indent="0" algn="l" defTabSz="1088643" rtl="0" eaLnBrk="1" latinLnBrk="0" hangingPunct="1">
        <a:spcBef>
          <a:spcPts val="508"/>
        </a:spcBef>
        <a:spcAft>
          <a:spcPts val="508"/>
        </a:spcAft>
        <a:buClr>
          <a:schemeClr val="accent1"/>
        </a:buClr>
        <a:buFont typeface="Arial" panose="020B0604020202020204" pitchFamily="34" charset="0"/>
        <a:buNone/>
        <a:defRPr sz="2300" b="1" kern="1200" baseline="0">
          <a:solidFill>
            <a:srgbClr val="7F7F7F"/>
          </a:solidFill>
          <a:latin typeface="+mn-lt"/>
          <a:ea typeface="+mn-ea"/>
          <a:cs typeface="+mn-cs"/>
        </a:defRPr>
      </a:lvl4pPr>
      <a:lvl5pPr marL="0" indent="0" algn="l" defTabSz="1088643" rtl="0" eaLnBrk="1" latinLnBrk="0" hangingPunct="1">
        <a:spcBef>
          <a:spcPts val="253"/>
        </a:spcBef>
        <a:spcAft>
          <a:spcPts val="253"/>
        </a:spcAft>
        <a:buClr>
          <a:schemeClr val="accent1"/>
        </a:buClr>
        <a:buFont typeface="Arial" pitchFamily="34" charset="0"/>
        <a:buNone/>
        <a:defRPr sz="2000" b="1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2993767" indent="-272160" algn="l" defTabSz="108864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8087" indent="-272160" algn="l" defTabSz="108864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410" indent="-272160" algn="l" defTabSz="108864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730" indent="-272160" algn="l" defTabSz="108864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64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22" algn="l" defTabSz="108864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643" algn="l" defTabSz="108864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964" algn="l" defTabSz="108864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285" algn="l" defTabSz="108864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606" algn="l" defTabSz="108864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928" algn="l" defTabSz="108864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247" algn="l" defTabSz="108864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569" algn="l" defTabSz="108864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">
          <p15:clr>
            <a:srgbClr val="F26B43"/>
          </p15:clr>
        </p15:guide>
        <p15:guide id="2" pos="150">
          <p15:clr>
            <a:srgbClr val="F26B43"/>
          </p15:clr>
        </p15:guide>
        <p15:guide id="4" pos="296">
          <p15:clr>
            <a:srgbClr val="F26B43"/>
          </p15:clr>
        </p15:guide>
        <p15:guide id="5" pos="368">
          <p15:clr>
            <a:srgbClr val="F26B43"/>
          </p15:clr>
        </p15:guide>
        <p15:guide id="6" pos="442">
          <p15:clr>
            <a:srgbClr val="F26B43"/>
          </p15:clr>
        </p15:guide>
        <p15:guide id="7" pos="514">
          <p15:clr>
            <a:srgbClr val="F26B43"/>
          </p15:clr>
        </p15:guide>
        <p15:guide id="9" pos="589">
          <p15:clr>
            <a:srgbClr val="F26B43"/>
          </p15:clr>
        </p15:guide>
        <p15:guide id="10" pos="661">
          <p15:clr>
            <a:srgbClr val="F26B43"/>
          </p15:clr>
        </p15:guide>
        <p15:guide id="11" pos="735">
          <p15:clr>
            <a:srgbClr val="F26B43"/>
          </p15:clr>
        </p15:guide>
        <p15:guide id="12" pos="808">
          <p15:clr>
            <a:srgbClr val="F26B43"/>
          </p15:clr>
        </p15:guide>
        <p15:guide id="13" pos="881">
          <p15:clr>
            <a:srgbClr val="F26B43"/>
          </p15:clr>
        </p15:guide>
        <p15:guide id="14" pos="954">
          <p15:clr>
            <a:srgbClr val="F26B43"/>
          </p15:clr>
        </p15:guide>
        <p15:guide id="15" pos="1027">
          <p15:clr>
            <a:srgbClr val="F26B43"/>
          </p15:clr>
        </p15:guide>
        <p15:guide id="16" pos="1100">
          <p15:clr>
            <a:srgbClr val="F26B43"/>
          </p15:clr>
        </p15:guide>
        <p15:guide id="17" pos="1173">
          <p15:clr>
            <a:srgbClr val="F26B43"/>
          </p15:clr>
        </p15:guide>
        <p15:guide id="18" pos="1246">
          <p15:clr>
            <a:srgbClr val="F26B43"/>
          </p15:clr>
        </p15:guide>
        <p15:guide id="19" pos="1320">
          <p15:clr>
            <a:srgbClr val="F26B43"/>
          </p15:clr>
        </p15:guide>
        <p15:guide id="20" pos="1392">
          <p15:clr>
            <a:srgbClr val="F26B43"/>
          </p15:clr>
        </p15:guide>
        <p15:guide id="21" pos="1466">
          <p15:clr>
            <a:srgbClr val="F26B43"/>
          </p15:clr>
        </p15:guide>
        <p15:guide id="22" pos="1539">
          <p15:clr>
            <a:srgbClr val="F26B43"/>
          </p15:clr>
        </p15:guide>
        <p15:guide id="23" pos="1612">
          <p15:clr>
            <a:srgbClr val="F26B43"/>
          </p15:clr>
        </p15:guide>
        <p15:guide id="24" pos="1685">
          <p15:clr>
            <a:srgbClr val="F26B43"/>
          </p15:clr>
        </p15:guide>
        <p15:guide id="25" pos="1758">
          <p15:clr>
            <a:srgbClr val="F26B43"/>
          </p15:clr>
        </p15:guide>
        <p15:guide id="26" pos="1831">
          <p15:clr>
            <a:srgbClr val="F26B43"/>
          </p15:clr>
        </p15:guide>
        <p15:guide id="27" pos="1905">
          <p15:clr>
            <a:srgbClr val="F26B43"/>
          </p15:clr>
        </p15:guide>
        <p15:guide id="28" pos="1977">
          <p15:clr>
            <a:srgbClr val="F26B43"/>
          </p15:clr>
        </p15:guide>
        <p15:guide id="29" pos="2051">
          <p15:clr>
            <a:srgbClr val="F26B43"/>
          </p15:clr>
        </p15:guide>
        <p15:guide id="30" pos="2124">
          <p15:clr>
            <a:srgbClr val="F26B43"/>
          </p15:clr>
        </p15:guide>
        <p15:guide id="31" pos="2198">
          <p15:clr>
            <a:srgbClr val="F26B43"/>
          </p15:clr>
        </p15:guide>
        <p15:guide id="32" pos="2270">
          <p15:clr>
            <a:srgbClr val="F26B43"/>
          </p15:clr>
        </p15:guide>
        <p15:guide id="33" pos="2343">
          <p15:clr>
            <a:srgbClr val="F26B43"/>
          </p15:clr>
        </p15:guide>
        <p15:guide id="34" pos="2416">
          <p15:clr>
            <a:srgbClr val="F26B43"/>
          </p15:clr>
        </p15:guide>
        <p15:guide id="35" pos="2490">
          <p15:clr>
            <a:srgbClr val="F26B43"/>
          </p15:clr>
        </p15:guide>
        <p15:guide id="36" pos="2562">
          <p15:clr>
            <a:srgbClr val="F26B43"/>
          </p15:clr>
        </p15:guide>
        <p15:guide id="37" pos="2636">
          <p15:clr>
            <a:srgbClr val="F26B43"/>
          </p15:clr>
        </p15:guide>
        <p15:guide id="38" pos="2708">
          <p15:clr>
            <a:srgbClr val="F26B43"/>
          </p15:clr>
        </p15:guide>
        <p15:guide id="39" pos="2782">
          <p15:clr>
            <a:srgbClr val="F26B43"/>
          </p15:clr>
        </p15:guide>
        <p15:guide id="40" pos="2855">
          <p15:clr>
            <a:srgbClr val="F26B43"/>
          </p15:clr>
        </p15:guide>
        <p15:guide id="41" pos="3001">
          <p15:clr>
            <a:srgbClr val="F26B43"/>
          </p15:clr>
        </p15:guide>
        <p15:guide id="42" pos="3074">
          <p15:clr>
            <a:srgbClr val="F26B43"/>
          </p15:clr>
        </p15:guide>
        <p15:guide id="43" pos="3147">
          <p15:clr>
            <a:srgbClr val="F26B43"/>
          </p15:clr>
        </p15:guide>
        <p15:guide id="44" pos="3221">
          <p15:clr>
            <a:srgbClr val="F26B43"/>
          </p15:clr>
        </p15:guide>
        <p15:guide id="45" pos="3293">
          <p15:clr>
            <a:srgbClr val="F26B43"/>
          </p15:clr>
        </p15:guide>
        <p15:guide id="46" pos="3367">
          <p15:clr>
            <a:srgbClr val="F26B43"/>
          </p15:clr>
        </p15:guide>
        <p15:guide id="47" pos="3439">
          <p15:clr>
            <a:srgbClr val="F26B43"/>
          </p15:clr>
        </p15:guide>
        <p15:guide id="48" pos="3514">
          <p15:clr>
            <a:srgbClr val="F26B43"/>
          </p15:clr>
        </p15:guide>
        <p15:guide id="49" pos="3586">
          <p15:clr>
            <a:srgbClr val="F26B43"/>
          </p15:clr>
        </p15:guide>
        <p15:guide id="50" pos="3659">
          <p15:clr>
            <a:srgbClr val="F26B43"/>
          </p15:clr>
        </p15:guide>
        <p15:guide id="51" pos="3732">
          <p15:clr>
            <a:srgbClr val="F26B43"/>
          </p15:clr>
        </p15:guide>
        <p15:guide id="52" pos="3806">
          <p15:clr>
            <a:srgbClr val="F26B43"/>
          </p15:clr>
        </p15:guide>
        <p15:guide id="53" pos="3880">
          <p15:clr>
            <a:srgbClr val="F26B43"/>
          </p15:clr>
        </p15:guide>
        <p15:guide id="54" pos="3952">
          <p15:clr>
            <a:srgbClr val="F26B43"/>
          </p15:clr>
        </p15:guide>
        <p15:guide id="55" pos="4026">
          <p15:clr>
            <a:srgbClr val="F26B43"/>
          </p15:clr>
        </p15:guide>
        <p15:guide id="56" pos="4099">
          <p15:clr>
            <a:srgbClr val="F26B43"/>
          </p15:clr>
        </p15:guide>
        <p15:guide id="57" pos="4172">
          <p15:clr>
            <a:srgbClr val="F26B43"/>
          </p15:clr>
        </p15:guide>
        <p15:guide id="58" pos="4244">
          <p15:clr>
            <a:srgbClr val="F26B43"/>
          </p15:clr>
        </p15:guide>
        <p15:guide id="59" orient="horz" pos="175">
          <p15:clr>
            <a:srgbClr val="F26B43"/>
          </p15:clr>
        </p15:guide>
        <p15:guide id="60" orient="horz" pos="256">
          <p15:clr>
            <a:srgbClr val="F26B43"/>
          </p15:clr>
        </p15:guide>
        <p15:guide id="61" orient="horz" pos="335">
          <p15:clr>
            <a:srgbClr val="F26B43"/>
          </p15:clr>
        </p15:guide>
        <p15:guide id="70" orient="horz" pos="975">
          <p15:clr>
            <a:srgbClr val="F26B43"/>
          </p15:clr>
        </p15:guide>
        <p15:guide id="71" orient="horz" pos="1135">
          <p15:clr>
            <a:srgbClr val="F26B43"/>
          </p15:clr>
        </p15:guide>
        <p15:guide id="73" orient="horz" pos="1215">
          <p15:clr>
            <a:srgbClr val="F26B43"/>
          </p15:clr>
        </p15:guide>
        <p15:guide id="74" orient="horz" pos="1294">
          <p15:clr>
            <a:srgbClr val="F26B43"/>
          </p15:clr>
        </p15:guide>
        <p15:guide id="75" orient="horz" pos="1375">
          <p15:clr>
            <a:srgbClr val="F26B43"/>
          </p15:clr>
        </p15:guide>
        <p15:guide id="76" orient="horz" pos="1455">
          <p15:clr>
            <a:srgbClr val="F26B43"/>
          </p15:clr>
        </p15:guide>
        <p15:guide id="77" orient="horz" pos="1534">
          <p15:clr>
            <a:srgbClr val="F26B43"/>
          </p15:clr>
        </p15:guide>
        <p15:guide id="78" orient="horz" pos="1614">
          <p15:clr>
            <a:srgbClr val="F26B43"/>
          </p15:clr>
        </p15:guide>
        <p15:guide id="79" orient="horz" pos="1695">
          <p15:clr>
            <a:srgbClr val="F26B43"/>
          </p15:clr>
        </p15:guide>
        <p15:guide id="80" orient="horz" pos="1774">
          <p15:clr>
            <a:srgbClr val="F26B43"/>
          </p15:clr>
        </p15:guide>
        <p15:guide id="81" orient="horz" pos="1852">
          <p15:clr>
            <a:srgbClr val="F26B43"/>
          </p15:clr>
        </p15:guide>
        <p15:guide id="82" orient="horz" pos="1931">
          <p15:clr>
            <a:srgbClr val="F26B43"/>
          </p15:clr>
        </p15:guide>
        <p15:guide id="83" orient="horz" pos="2012">
          <p15:clr>
            <a:srgbClr val="F26B43"/>
          </p15:clr>
        </p15:guide>
        <p15:guide id="84" orient="horz" pos="2092">
          <p15:clr>
            <a:srgbClr val="F26B43"/>
          </p15:clr>
        </p15:guide>
        <p15:guide id="85" orient="horz" pos="2171">
          <p15:clr>
            <a:srgbClr val="F26B43"/>
          </p15:clr>
        </p15:guide>
        <p15:guide id="86" orient="horz" pos="2252">
          <p15:clr>
            <a:srgbClr val="F26B43"/>
          </p15:clr>
        </p15:guide>
        <p15:guide id="87" orient="horz" pos="2332">
          <p15:clr>
            <a:srgbClr val="F26B43"/>
          </p15:clr>
        </p15:guide>
        <p15:guide id="89" orient="horz" pos="416">
          <p15:clr>
            <a:srgbClr val="F26B43"/>
          </p15:clr>
        </p15:guide>
        <p15:guide id="90" orient="horz" pos="495">
          <p15:clr>
            <a:srgbClr val="F26B43"/>
          </p15:clr>
        </p15:guide>
        <p15:guide id="91" orient="horz" pos="576">
          <p15:clr>
            <a:srgbClr val="F26B43"/>
          </p15:clr>
        </p15:guide>
        <p15:guide id="92" orient="horz" pos="655">
          <p15:clr>
            <a:srgbClr val="F26B43"/>
          </p15:clr>
        </p15:guide>
        <p15:guide id="93" orient="horz" pos="736">
          <p15:clr>
            <a:srgbClr val="F26B43"/>
          </p15:clr>
        </p15:guide>
        <p15:guide id="94" orient="horz" pos="814">
          <p15:clr>
            <a:srgbClr val="F26B43"/>
          </p15:clr>
        </p15:guide>
        <p15:guide id="95" orient="horz" pos="895">
          <p15:clr>
            <a:srgbClr val="F26B43"/>
          </p15:clr>
        </p15:guide>
        <p15:guide id="96" orient="horz" pos="1054">
          <p15:clr>
            <a:srgbClr val="F26B43"/>
          </p15:clr>
        </p15:guide>
        <p15:guide id="97" pos="2928">
          <p15:clr>
            <a:srgbClr val="F26B43"/>
          </p15:clr>
        </p15:guide>
        <p15:guide id="99" pos="223">
          <p15:clr>
            <a:srgbClr val="F26B43"/>
          </p15:clr>
        </p15:guide>
        <p15:guide id="100" pos="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12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>
            <a:extLst>
              <a:ext uri="{FF2B5EF4-FFF2-40B4-BE49-F238E27FC236}">
                <a16:creationId xmlns:a16="http://schemas.microsoft.com/office/drawing/2014/main" id="{7360BF7E-318E-48CD-B23C-1EDA9988E9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-2662141" y="2661914"/>
            <a:ext cx="12206071" cy="6860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353786" y="719599"/>
            <a:ext cx="6154725" cy="1868635"/>
          </a:xfrm>
        </p:spPr>
        <p:txBody>
          <a:bodyPr>
            <a:noAutofit/>
          </a:bodyPr>
          <a:lstStyle/>
          <a:p>
            <a:pPr algn="ctr"/>
            <a:r>
              <a:rPr lang="en-US" sz="3600" dirty="0" err="1">
                <a:latin typeface="Sansa Pro Bold" panose="020B0804020101020102" pitchFamily="34" charset="0"/>
                <a:cs typeface="Sansa Pro Bold" panose="020B0804020101020102" pitchFamily="34" charset="0"/>
              </a:rPr>
              <a:t>Tervetuloa</a:t>
            </a:r>
            <a:r>
              <a:rPr lang="en-US" sz="3600" dirty="0">
                <a:latin typeface="Sansa Pro Bold" panose="020B0804020101020102" pitchFamily="34" charset="0"/>
                <a:cs typeface="Sansa Pro Bold" panose="020B0804020101020102" pitchFamily="34" charset="0"/>
              </a:rPr>
              <a:t> </a:t>
            </a:r>
            <a:br>
              <a:rPr lang="en-US" sz="3600" dirty="0">
                <a:latin typeface="Sansa Pro Bold" panose="020B0804020101020102" pitchFamily="34" charset="0"/>
                <a:cs typeface="Sansa Pro Bold" panose="020B0804020101020102" pitchFamily="34" charset="0"/>
              </a:rPr>
            </a:br>
            <a:r>
              <a:rPr lang="en-US" sz="3600" dirty="0" err="1">
                <a:latin typeface="Sansa Pro Bold" panose="020B0804020101020102" pitchFamily="34" charset="0"/>
                <a:cs typeface="Sansa Pro Bold" panose="020B0804020101020102" pitchFamily="34" charset="0"/>
              </a:rPr>
              <a:t>mySodexo</a:t>
            </a:r>
            <a:r>
              <a:rPr lang="en-US" sz="3600" dirty="0">
                <a:latin typeface="Sansa Pro Bold" panose="020B0804020101020102" pitchFamily="34" charset="0"/>
                <a:cs typeface="Sansa Pro Bold" panose="020B0804020101020102" pitchFamily="34" charset="0"/>
              </a:rPr>
              <a:t> –</a:t>
            </a:r>
            <a:r>
              <a:rPr lang="en-US" sz="3600" dirty="0" err="1">
                <a:latin typeface="Sansa Pro Bold" panose="020B0804020101020102" pitchFamily="34" charset="0"/>
                <a:cs typeface="Sansa Pro Bold" panose="020B0804020101020102" pitchFamily="34" charset="0"/>
              </a:rPr>
              <a:t>sovelluksen</a:t>
            </a:r>
            <a:r>
              <a:rPr lang="en-US" sz="3600" dirty="0">
                <a:latin typeface="Sansa Pro Bold" panose="020B0804020101020102" pitchFamily="34" charset="0"/>
                <a:cs typeface="Sansa Pro Bold" panose="020B0804020101020102" pitchFamily="34" charset="0"/>
              </a:rPr>
              <a:t> </a:t>
            </a:r>
            <a:r>
              <a:rPr lang="en-US" sz="3600" dirty="0" err="1">
                <a:latin typeface="Sansa Pro Bold" panose="020B0804020101020102" pitchFamily="34" charset="0"/>
                <a:cs typeface="Sansa Pro Bold" panose="020B0804020101020102" pitchFamily="34" charset="0"/>
              </a:rPr>
              <a:t>käyttäjäksi</a:t>
            </a:r>
            <a:endParaRPr lang="en-US" sz="3600" dirty="0">
              <a:latin typeface="Sansa Pro Bold" panose="020B0804020101020102" pitchFamily="34" charset="0"/>
              <a:cs typeface="Sansa Pro Bold" panose="020B0804020101020102" pitchFamily="34" charset="0"/>
            </a:endParaRPr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3"/>
          </p:nvPr>
        </p:nvSpPr>
        <p:spPr>
          <a:xfrm>
            <a:off x="622042" y="2979290"/>
            <a:ext cx="5601336" cy="441326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err="1">
                <a:latin typeface="Sansa Pro Normal" panose="020B0504020101020102" pitchFamily="34" charset="0"/>
                <a:cs typeface="Sansa Pro Normal" panose="020B0504020101020102" pitchFamily="34" charset="0"/>
              </a:rPr>
              <a:t>Olemme</a:t>
            </a:r>
            <a:r>
              <a:rPr lang="en-US" dirty="0">
                <a:latin typeface="Sansa Pro Normal" panose="020B0504020101020102" pitchFamily="34" charset="0"/>
                <a:cs typeface="Sansa Pro Normal" panose="020B0504020101020102" pitchFamily="34" charset="0"/>
              </a:rPr>
              <a:t> </a:t>
            </a:r>
            <a:r>
              <a:rPr lang="en-US" dirty="0" err="1">
                <a:latin typeface="Sansa Pro Normal" panose="020B0504020101020102" pitchFamily="34" charset="0"/>
                <a:cs typeface="Sansa Pro Normal" panose="020B0504020101020102" pitchFamily="34" charset="0"/>
              </a:rPr>
              <a:t>ottaneet</a:t>
            </a:r>
            <a:r>
              <a:rPr lang="en-US" dirty="0">
                <a:latin typeface="Sansa Pro Normal" panose="020B0504020101020102" pitchFamily="34" charset="0"/>
                <a:cs typeface="Sansa Pro Normal" panose="020B0504020101020102" pitchFamily="34" charset="0"/>
              </a:rPr>
              <a:t> </a:t>
            </a:r>
            <a:r>
              <a:rPr lang="en-US" dirty="0" err="1">
                <a:latin typeface="Sansa Pro Bold" panose="020B0804020101020102" pitchFamily="34" charset="0"/>
                <a:cs typeface="Sansa Pro Bold" panose="020B0804020101020102" pitchFamily="34" charset="0"/>
              </a:rPr>
              <a:t>mySodexo</a:t>
            </a:r>
            <a:r>
              <a:rPr lang="en-US" dirty="0">
                <a:latin typeface="Sansa Pro Bold" panose="020B0804020101020102" pitchFamily="34" charset="0"/>
                <a:cs typeface="Sansa Pro Bold" panose="020B0804020101020102" pitchFamily="34" charset="0"/>
              </a:rPr>
              <a:t> –</a:t>
            </a:r>
            <a:r>
              <a:rPr lang="en-US" dirty="0" err="1">
                <a:latin typeface="Sansa Pro Bold" panose="020B0804020101020102" pitchFamily="34" charset="0"/>
                <a:cs typeface="Sansa Pro Bold" panose="020B0804020101020102" pitchFamily="34" charset="0"/>
              </a:rPr>
              <a:t>sovelluksen</a:t>
            </a:r>
            <a:r>
              <a:rPr lang="en-US" dirty="0">
                <a:latin typeface="Sansa Pro Bold" panose="020B0804020101020102" pitchFamily="34" charset="0"/>
                <a:cs typeface="Sansa Pro Bold" panose="020B0804020101020102" pitchFamily="34" charset="0"/>
              </a:rPr>
              <a:t> </a:t>
            </a:r>
            <a:r>
              <a:rPr lang="en-US" dirty="0" err="1">
                <a:latin typeface="Sansa Pro Normal" panose="020B0504020101020102" pitchFamily="34" charset="0"/>
                <a:cs typeface="Sansa Pro Normal" panose="020B0504020101020102" pitchFamily="34" charset="0"/>
              </a:rPr>
              <a:t>käyttöön</a:t>
            </a:r>
            <a:r>
              <a:rPr lang="en-US" dirty="0">
                <a:latin typeface="Sansa Pro Normal" panose="020B0504020101020102" pitchFamily="34" charset="0"/>
                <a:cs typeface="Sansa Pro Normal" panose="020B0504020101020102" pitchFamily="34" charset="0"/>
              </a:rPr>
              <a:t>.</a:t>
            </a:r>
            <a:br>
              <a:rPr lang="en-US" dirty="0">
                <a:latin typeface="Sansa Pro Normal" panose="020B0504020101020102" pitchFamily="34" charset="0"/>
                <a:cs typeface="Sansa Pro Normal" panose="020B0504020101020102" pitchFamily="34" charset="0"/>
              </a:rPr>
            </a:br>
            <a:endParaRPr lang="en-US" dirty="0">
              <a:latin typeface="Sansa Pro Normal" panose="020B0504020101020102" pitchFamily="34" charset="0"/>
              <a:cs typeface="Sansa Pro Normal" panose="020B0504020101020102" pitchFamily="34" charset="0"/>
            </a:endParaRPr>
          </a:p>
          <a:p>
            <a:pPr marL="0" indent="0">
              <a:buNone/>
            </a:pPr>
            <a:r>
              <a:rPr lang="en-US" dirty="0" err="1">
                <a:cs typeface="Sansa Pro Normal" panose="020B0504020101020102" pitchFamily="34" charset="0"/>
              </a:rPr>
              <a:t>mySodexo</a:t>
            </a:r>
            <a:r>
              <a:rPr lang="en-US" dirty="0">
                <a:cs typeface="Sansa Pro Normal" panose="020B0504020101020102" pitchFamily="34" charset="0"/>
              </a:rPr>
              <a:t> –</a:t>
            </a:r>
            <a:r>
              <a:rPr lang="en-US" dirty="0" err="1">
                <a:cs typeface="Sansa Pro Normal" panose="020B0504020101020102" pitchFamily="34" charset="0"/>
              </a:rPr>
              <a:t>sovelluksen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avulla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maksat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ostoksesi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kontaktittomasti</a:t>
            </a:r>
            <a:r>
              <a:rPr lang="en-US" dirty="0">
                <a:cs typeface="Sansa Pro Normal" panose="020B0504020101020102" pitchFamily="34" charset="0"/>
              </a:rPr>
              <a:t>, </a:t>
            </a:r>
            <a:r>
              <a:rPr lang="en-US" dirty="0" err="1">
                <a:cs typeface="Sansa Pro Normal" panose="020B0504020101020102" pitchFamily="34" charset="0"/>
              </a:rPr>
              <a:t>nopeasti</a:t>
            </a:r>
            <a:r>
              <a:rPr lang="en-US" dirty="0">
                <a:cs typeface="Sansa Pro Normal" panose="020B0504020101020102" pitchFamily="34" charset="0"/>
              </a:rPr>
              <a:t> ja </a:t>
            </a:r>
            <a:r>
              <a:rPr lang="en-US" dirty="0" err="1">
                <a:cs typeface="Sansa Pro Normal" panose="020B0504020101020102" pitchFamily="34" charset="0"/>
              </a:rPr>
              <a:t>saat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aina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tiedon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ajankohtaisista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eduista</a:t>
            </a:r>
            <a:r>
              <a:rPr lang="en-US" dirty="0">
                <a:cs typeface="Sansa Pro Normal" panose="020B0504020101020102" pitchFamily="34" charset="0"/>
              </a:rPr>
              <a:t>.</a:t>
            </a:r>
            <a:br>
              <a:rPr lang="en-US" dirty="0">
                <a:cs typeface="Sansa Pro Normal" panose="020B0504020101020102" pitchFamily="34" charset="0"/>
              </a:rPr>
            </a:br>
            <a:br>
              <a:rPr lang="en-US" dirty="0">
                <a:cs typeface="Sansa Pro Normal" panose="020B0504020101020102" pitchFamily="34" charset="0"/>
              </a:rPr>
            </a:br>
            <a:r>
              <a:rPr lang="en-US" dirty="0" err="1">
                <a:cs typeface="Sansa Pro Normal" panose="020B0504020101020102" pitchFamily="34" charset="0"/>
              </a:rPr>
              <a:t>Sovelluksessa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näet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päivän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lounasvaihtoehdot</a:t>
            </a:r>
            <a:r>
              <a:rPr lang="en-US" dirty="0">
                <a:cs typeface="Sansa Pro Normal" panose="020B0504020101020102" pitchFamily="34" charset="0"/>
              </a:rPr>
              <a:t> ja </a:t>
            </a:r>
            <a:r>
              <a:rPr lang="en-US" dirty="0" err="1">
                <a:cs typeface="Sansa Pro Normal" panose="020B0504020101020102" pitchFamily="34" charset="0"/>
              </a:rPr>
              <a:t>voit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valita</a:t>
            </a:r>
            <a:r>
              <a:rPr lang="en-US" dirty="0">
                <a:cs typeface="Sansa Pro Normal" panose="020B0504020101020102" pitchFamily="34" charset="0"/>
              </a:rPr>
              <a:t> ja </a:t>
            </a:r>
            <a:r>
              <a:rPr lang="en-US" dirty="0" err="1">
                <a:cs typeface="Sansa Pro Normal" panose="020B0504020101020102" pitchFamily="34" charset="0"/>
              </a:rPr>
              <a:t>maksaa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lounaasi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ennakkoon</a:t>
            </a:r>
            <a:r>
              <a:rPr lang="en-US" dirty="0">
                <a:cs typeface="Sansa Pro Normal" panose="020B0504020101020102" pitchFamily="34" charset="0"/>
              </a:rPr>
              <a:t>. </a:t>
            </a:r>
            <a:r>
              <a:rPr lang="en-US" dirty="0" err="1">
                <a:cs typeface="Sansa Pro Normal" panose="020B0504020101020102" pitchFamily="34" charset="0"/>
              </a:rPr>
              <a:t>Maksettuasi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lounaan</a:t>
            </a:r>
            <a:r>
              <a:rPr lang="en-US" dirty="0">
                <a:cs typeface="Sansa Pro Normal" panose="020B0504020101020102" pitchFamily="34" charset="0"/>
              </a:rPr>
              <a:t>, </a:t>
            </a:r>
            <a:r>
              <a:rPr lang="en-US" dirty="0" err="1">
                <a:cs typeface="Sansa Pro Normal" panose="020B0504020101020102" pitchFamily="34" charset="0"/>
              </a:rPr>
              <a:t>osto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vahvistetaan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ravintolassa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näyttämällä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sovelluksessa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olevaa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tilausvahvistusta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ravintolan</a:t>
            </a:r>
            <a:r>
              <a:rPr lang="en-US" dirty="0">
                <a:cs typeface="Sansa Pro Normal" panose="020B0504020101020102" pitchFamily="34" charset="0"/>
              </a:rPr>
              <a:t> QR-</a:t>
            </a:r>
            <a:r>
              <a:rPr lang="en-US" dirty="0" err="1">
                <a:cs typeface="Sansa Pro Normal" panose="020B0504020101020102" pitchFamily="34" charset="0"/>
              </a:rPr>
              <a:t>koodia</a:t>
            </a:r>
            <a:r>
              <a:rPr lang="en-US" dirty="0">
                <a:cs typeface="Sansa Pro Normal" panose="020B0504020101020102" pitchFamily="34" charset="0"/>
              </a:rPr>
              <a:t> </a:t>
            </a:r>
            <a:r>
              <a:rPr lang="en-US" dirty="0" err="1">
                <a:cs typeface="Sansa Pro Normal" panose="020B0504020101020102" pitchFamily="34" charset="0"/>
              </a:rPr>
              <a:t>lukijalle</a:t>
            </a:r>
            <a:r>
              <a:rPr lang="en-US" dirty="0">
                <a:cs typeface="Sansa Pro Normal" panose="020B0504020101020102" pitchFamily="34" charset="0"/>
              </a:rPr>
              <a:t>. </a:t>
            </a:r>
            <a:br>
              <a:rPr lang="en-US" dirty="0">
                <a:latin typeface="Sansa Pro Normal" panose="020B0504020101020102" pitchFamily="34" charset="0"/>
                <a:cs typeface="Sansa Pro Normal" panose="020B0504020101020102" pitchFamily="34" charset="0"/>
              </a:rPr>
            </a:br>
            <a:endParaRPr lang="en-US" sz="1600" dirty="0">
              <a:latin typeface="Sansa Pro Normal" panose="020B0504020101020102" pitchFamily="34" charset="0"/>
              <a:cs typeface="Sansa Pro Normal" panose="020B0504020101020102" pitchFamily="34" charset="0"/>
            </a:endParaRPr>
          </a:p>
        </p:txBody>
      </p:sp>
      <p:pic>
        <p:nvPicPr>
          <p:cNvPr id="9" name="Picture 6" descr="C:\Users\iida.turunen\Downloads\google-play-badg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887" y="10843838"/>
            <a:ext cx="1619920" cy="626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725" y="11429797"/>
            <a:ext cx="1457704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5">
            <a:extLst>
              <a:ext uri="{FF2B5EF4-FFF2-40B4-BE49-F238E27FC236}">
                <a16:creationId xmlns:a16="http://schemas.microsoft.com/office/drawing/2014/main" id="{5CFD3832-A349-4559-907A-F428FE034EC7}"/>
              </a:ext>
            </a:extLst>
          </p:cNvPr>
          <p:cNvGrpSpPr/>
          <p:nvPr/>
        </p:nvGrpSpPr>
        <p:grpSpPr>
          <a:xfrm>
            <a:off x="3422710" y="7942579"/>
            <a:ext cx="4083335" cy="4252596"/>
            <a:chOff x="1614732" y="4891404"/>
            <a:chExt cx="4262028" cy="4436662"/>
          </a:xfrm>
        </p:grpSpPr>
        <p:pic>
          <p:nvPicPr>
            <p:cNvPr id="11" name="Picture 6">
              <a:extLst>
                <a:ext uri="{FF2B5EF4-FFF2-40B4-BE49-F238E27FC236}">
                  <a16:creationId xmlns:a16="http://schemas.microsoft.com/office/drawing/2014/main" id="{524933AE-7E98-4C4C-A069-642B1D01CE7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2567" b="97639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14732" y="4891404"/>
              <a:ext cx="4262028" cy="4436662"/>
            </a:xfrm>
            <a:prstGeom prst="rect">
              <a:avLst/>
            </a:prstGeom>
          </p:spPr>
        </p:pic>
        <p:pic>
          <p:nvPicPr>
            <p:cNvPr id="12" name="Picture 2">
              <a:extLst>
                <a:ext uri="{FF2B5EF4-FFF2-40B4-BE49-F238E27FC236}">
                  <a16:creationId xmlns:a16="http://schemas.microsoft.com/office/drawing/2014/main" id="{6D56384D-958A-48D7-9BBF-E37FB74869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97488" y="5248494"/>
              <a:ext cx="1614535" cy="3014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" name="Suorakulmio 2">
            <a:extLst>
              <a:ext uri="{FF2B5EF4-FFF2-40B4-BE49-F238E27FC236}">
                <a16:creationId xmlns:a16="http://schemas.microsoft.com/office/drawing/2014/main" id="{0520EC28-3E6D-4460-AC78-9DCDC559289C}"/>
              </a:ext>
            </a:extLst>
          </p:cNvPr>
          <p:cNvSpPr/>
          <p:nvPr/>
        </p:nvSpPr>
        <p:spPr>
          <a:xfrm>
            <a:off x="605530" y="7687033"/>
            <a:ext cx="3429000" cy="286232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i-FI" sz="2000" b="1" dirty="0">
                <a:solidFill>
                  <a:schemeClr val="accent1"/>
                </a:solidFill>
                <a:latin typeface="Sansa Pro Normal" panose="020B0504020101020102" pitchFamily="34" charset="0"/>
                <a:cs typeface="Sansa Pro Normal" panose="020B0504020101020102" pitchFamily="34" charset="0"/>
              </a:rPr>
              <a:t>Lataa sovellus Google Play –kaupasta tai </a:t>
            </a:r>
            <a:r>
              <a:rPr lang="fi-FI" sz="2000" b="1" dirty="0" err="1">
                <a:solidFill>
                  <a:schemeClr val="accent1"/>
                </a:solidFill>
                <a:latin typeface="Sansa Pro Normal" panose="020B0504020101020102" pitchFamily="34" charset="0"/>
                <a:cs typeface="Sansa Pro Normal" panose="020B0504020101020102" pitchFamily="34" charset="0"/>
              </a:rPr>
              <a:t>App</a:t>
            </a:r>
            <a:r>
              <a:rPr lang="fi-FI" sz="2000" b="1" dirty="0">
                <a:solidFill>
                  <a:schemeClr val="accent1"/>
                </a:solidFill>
                <a:latin typeface="Sansa Pro Normal" panose="020B0504020101020102" pitchFamily="34" charset="0"/>
                <a:cs typeface="Sansa Pro Normal" panose="020B0504020101020102" pitchFamily="34" charset="0"/>
              </a:rPr>
              <a:t> </a:t>
            </a:r>
            <a:r>
              <a:rPr lang="fi-FI" sz="2000" b="1" dirty="0" err="1">
                <a:solidFill>
                  <a:schemeClr val="accent1"/>
                </a:solidFill>
                <a:latin typeface="Sansa Pro Normal" panose="020B0504020101020102" pitchFamily="34" charset="0"/>
                <a:cs typeface="Sansa Pro Normal" panose="020B0504020101020102" pitchFamily="34" charset="0"/>
              </a:rPr>
              <a:t>Storesta</a:t>
            </a:r>
            <a:r>
              <a:rPr lang="fi-FI" sz="2000" b="1" dirty="0">
                <a:solidFill>
                  <a:schemeClr val="accent1"/>
                </a:solidFill>
                <a:latin typeface="Sansa Pro Normal" panose="020B0504020101020102" pitchFamily="34" charset="0"/>
                <a:cs typeface="Sansa Pro Normal" panose="020B0504020101020102" pitchFamily="34" charset="0"/>
              </a:rPr>
              <a:t> jo tänään.</a:t>
            </a:r>
            <a:br>
              <a:rPr lang="fi-FI" sz="2000" dirty="0">
                <a:solidFill>
                  <a:schemeClr val="accent1"/>
                </a:solidFill>
                <a:latin typeface="Sansa Pro Normal" panose="020B0504020101020102" pitchFamily="34" charset="0"/>
                <a:cs typeface="Sansa Pro Normal" panose="020B0504020101020102" pitchFamily="34" charset="0"/>
              </a:rPr>
            </a:br>
            <a:br>
              <a:rPr lang="fi-FI" sz="2000" dirty="0">
                <a:solidFill>
                  <a:schemeClr val="accent1"/>
                </a:solidFill>
                <a:latin typeface="Sansa Pro Normal" panose="020B0504020101020102" pitchFamily="34" charset="0"/>
                <a:cs typeface="Sansa Pro Normal" panose="020B0504020101020102" pitchFamily="34" charset="0"/>
              </a:rPr>
            </a:br>
            <a:r>
              <a:rPr lang="fi-FI" sz="2000" dirty="0">
                <a:solidFill>
                  <a:schemeClr val="accent1"/>
                </a:solidFill>
                <a:cs typeface="Sansa Pro Normal" panose="020B0504020101020102" pitchFamily="34" charset="0"/>
              </a:rPr>
              <a:t>Saadaksesi käyttöön työnantajasi tarjoamat edut, sinun tulee liittää sovellukseen lounasetukoodi. </a:t>
            </a:r>
          </a:p>
        </p:txBody>
      </p:sp>
    </p:spTree>
    <p:extLst>
      <p:ext uri="{BB962C8B-B14F-4D97-AF65-F5344CB8AC3E}">
        <p14:creationId xmlns:p14="http://schemas.microsoft.com/office/powerpoint/2010/main" val="203166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-2659299" y="2659174"/>
            <a:ext cx="12209354" cy="6862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003541" y="1443285"/>
            <a:ext cx="3489074" cy="99874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dirty="0">
                <a:latin typeface="Sansa Pro Bold" panose="020B0804020101020102" pitchFamily="34" charset="0"/>
                <a:cs typeface="Sansa Pro Bold" panose="020B0804020101020102" pitchFamily="34" charset="0"/>
              </a:rPr>
              <a:t>LATAA</a:t>
            </a:r>
            <a:br>
              <a:rPr lang="en-US" sz="1600" dirty="0">
                <a:latin typeface="Sansa Pro Bold" panose="020B0804020101020102" pitchFamily="34" charset="0"/>
                <a:cs typeface="Sansa Pro Bold" panose="020B0804020101020102" pitchFamily="34" charset="0"/>
              </a:rPr>
            </a:br>
            <a:r>
              <a:rPr lang="en-US" sz="1600" dirty="0" err="1">
                <a:cs typeface="Sansa Pro Normal" panose="020B0504020101020102" pitchFamily="34" charset="0"/>
              </a:rPr>
              <a:t>mySodexo</a:t>
            </a:r>
            <a:r>
              <a:rPr lang="en-US" sz="1600" dirty="0">
                <a:cs typeface="Sansa Pro Normal" panose="020B0504020101020102" pitchFamily="34" charset="0"/>
              </a:rPr>
              <a:t> -</a:t>
            </a:r>
            <a:r>
              <a:rPr lang="en-US" sz="1600" dirty="0" err="1">
                <a:cs typeface="Sansa Pro Normal" panose="020B0504020101020102" pitchFamily="34" charset="0"/>
              </a:rPr>
              <a:t>sovellus</a:t>
            </a:r>
            <a:br>
              <a:rPr lang="en-US" sz="1600" dirty="0">
                <a:cs typeface="Sansa Pro Normal" panose="020B0504020101020102" pitchFamily="34" charset="0"/>
              </a:rPr>
            </a:br>
            <a:r>
              <a:rPr lang="en-US" sz="1600" dirty="0">
                <a:cs typeface="Sansa Pro Normal" panose="020B0504020101020102" pitchFamily="34" charset="0"/>
              </a:rPr>
              <a:t>App </a:t>
            </a:r>
            <a:r>
              <a:rPr lang="en-US" sz="1600" dirty="0" err="1">
                <a:cs typeface="Sansa Pro Normal" panose="020B0504020101020102" pitchFamily="34" charset="0"/>
              </a:rPr>
              <a:t>Storesta</a:t>
            </a:r>
            <a:r>
              <a:rPr lang="en-US" sz="1600" dirty="0">
                <a:cs typeface="Sansa Pro Normal" panose="020B0504020101020102" pitchFamily="34" charset="0"/>
              </a:rPr>
              <a:t> tai Google Play </a:t>
            </a:r>
            <a:r>
              <a:rPr lang="en-US" sz="1600" dirty="0" err="1">
                <a:cs typeface="Sansa Pro Normal" panose="020B0504020101020102" pitchFamily="34" charset="0"/>
              </a:rPr>
              <a:t>kaupasta</a:t>
            </a:r>
            <a:r>
              <a:rPr lang="en-US" sz="1600" dirty="0">
                <a:cs typeface="Sansa Pro Normal" panose="020B0504020101020102" pitchFamily="34" charset="0"/>
              </a:rPr>
              <a:t> 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/>
        </p:blipFill>
        <p:spPr bwMode="auto">
          <a:xfrm>
            <a:off x="815060" y="1337030"/>
            <a:ext cx="1887487" cy="33607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  <p:pic>
        <p:nvPicPr>
          <p:cNvPr id="1030" name="Picture 6" descr="C:\Users\iida.turunen\Downloads\google-play-badge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5427" y="2442026"/>
            <a:ext cx="1577956" cy="610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AutoShape 12" descr="App Store logo vector"/>
          <p:cNvSpPr>
            <a:spLocks noChangeAspect="1" noChangeArrowheads="1"/>
          </p:cNvSpPr>
          <p:nvPr/>
        </p:nvSpPr>
        <p:spPr bwMode="auto">
          <a:xfrm>
            <a:off x="460462" y="168447"/>
            <a:ext cx="300029" cy="300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pPr defTabSz="1219281"/>
            <a:endParaRPr lang="fi-FI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AutoShape 16" descr="App Store logo vector"/>
          <p:cNvSpPr>
            <a:spLocks noChangeAspect="1" noChangeArrowheads="1"/>
          </p:cNvSpPr>
          <p:nvPr/>
        </p:nvSpPr>
        <p:spPr bwMode="auto">
          <a:xfrm>
            <a:off x="765252" y="473238"/>
            <a:ext cx="300029" cy="300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pPr defTabSz="1219281"/>
            <a:endParaRPr lang="fi-FI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AutoShape 18" descr="App Store logo vector"/>
          <p:cNvSpPr>
            <a:spLocks noChangeAspect="1" noChangeArrowheads="1"/>
          </p:cNvSpPr>
          <p:nvPr/>
        </p:nvSpPr>
        <p:spPr bwMode="auto">
          <a:xfrm>
            <a:off x="917648" y="1130115"/>
            <a:ext cx="300029" cy="300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pPr defTabSz="1219281"/>
            <a:endParaRPr lang="fi-FI" sz="180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043" name="Picture 1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3383" y="2548522"/>
            <a:ext cx="1341872" cy="397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Content Placeholder 4"/>
          <p:cNvSpPr txBox="1">
            <a:spLocks/>
          </p:cNvSpPr>
          <p:nvPr/>
        </p:nvSpPr>
        <p:spPr>
          <a:xfrm>
            <a:off x="815060" y="4885223"/>
            <a:ext cx="3133118" cy="1787489"/>
          </a:xfrm>
          <a:prstGeom prst="rect">
            <a:avLst/>
          </a:prstGeom>
        </p:spPr>
        <p:txBody>
          <a:bodyPr vert="horz" lIns="0" tIns="0" rIns="0" bIns="0" rtlCol="0">
            <a:normAutofit fontScale="92500" lnSpcReduction="20000"/>
          </a:bodyPr>
          <a:lstStyle>
            <a:lvl1pPr marL="234998" indent="-234998" algn="l" defTabSz="1088715" rtl="0" eaLnBrk="1" latinLnBrk="0" hangingPunct="1">
              <a:spcBef>
                <a:spcPts val="508"/>
              </a:spcBef>
              <a:spcAft>
                <a:spcPts val="508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en-US" sz="2000" b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84814" indent="-249817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›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719811" indent="-234998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44" indent="0" algn="l" defTabSz="1088715" rtl="0" eaLnBrk="1" latinLnBrk="0" hangingPunct="1">
              <a:spcBef>
                <a:spcPts val="508"/>
              </a:spcBef>
              <a:spcAft>
                <a:spcPts val="508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300" b="1" kern="1200" baseline="0" dirty="0" smtClean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1"/>
              </a:buClr>
              <a:buFont typeface="Arial" pitchFamily="34" charset="0"/>
              <a:buNone/>
              <a:defRPr lang="en-AU" sz="2000" b="1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993967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8324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682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7039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451910">
              <a:spcBef>
                <a:spcPts val="677"/>
              </a:spcBef>
              <a:spcAft>
                <a:spcPts val="677"/>
              </a:spcAft>
              <a:buClr>
                <a:srgbClr val="FF0000"/>
              </a:buClr>
              <a:buNone/>
            </a:pPr>
            <a:r>
              <a:rPr lang="fi-FI" sz="1600" dirty="0">
                <a:solidFill>
                  <a:srgbClr val="2A295C"/>
                </a:solidFill>
                <a:latin typeface="Sansa Pro Bold" panose="020B0804020101020102" pitchFamily="34" charset="0"/>
                <a:cs typeface="Sansa Pro Bold" panose="020B0804020101020102" pitchFamily="34" charset="0"/>
              </a:rPr>
              <a:t>REKISTERÖIDY</a:t>
            </a:r>
            <a:br>
              <a:rPr lang="fi-FI" sz="1600" dirty="0">
                <a:solidFill>
                  <a:srgbClr val="2A295C"/>
                </a:solidFill>
                <a:latin typeface="Sansa Pro Bold" panose="020B0804020101020102" pitchFamily="34" charset="0"/>
                <a:cs typeface="Sansa Pro Bold" panose="020B0804020101020102" pitchFamily="34" charset="0"/>
              </a:rPr>
            </a:br>
            <a:r>
              <a:rPr lang="fi-FI" sz="1700" dirty="0">
                <a:solidFill>
                  <a:srgbClr val="2A295C"/>
                </a:solidFill>
                <a:latin typeface="Arial"/>
                <a:cs typeface="Sansa Pro Normal" panose="020B0504020101020102" pitchFamily="34" charset="0"/>
              </a:rPr>
              <a:t>käyttäjäksi lisäämällä omat tietosi ja hyväksymällä käyttöehdot. Oletuskieli on suomi. Voit vaihtaa oletuskielen halutessasi englanniksi myöhemmin </a:t>
            </a:r>
            <a:r>
              <a:rPr lang="fi-FI" sz="1700" dirty="0" err="1">
                <a:solidFill>
                  <a:srgbClr val="2A295C"/>
                </a:solidFill>
                <a:latin typeface="Arial"/>
                <a:cs typeface="Sansa Pro Normal" panose="020B0504020101020102" pitchFamily="34" charset="0"/>
              </a:rPr>
              <a:t>mySodexo</a:t>
            </a:r>
            <a:r>
              <a:rPr lang="fi-FI" sz="1700" dirty="0">
                <a:solidFill>
                  <a:srgbClr val="2A295C"/>
                </a:solidFill>
                <a:latin typeface="Arial"/>
                <a:cs typeface="Sansa Pro Normal" panose="020B0504020101020102" pitchFamily="34" charset="0"/>
              </a:rPr>
              <a:t> –välilehden omissa asetuksissa</a:t>
            </a:r>
          </a:p>
          <a:p>
            <a:pPr marL="0" indent="0" defTabSz="1451910">
              <a:spcBef>
                <a:spcPts val="677"/>
              </a:spcBef>
              <a:spcAft>
                <a:spcPts val="677"/>
              </a:spcAft>
              <a:buClr>
                <a:srgbClr val="FF0000"/>
              </a:buClr>
              <a:buNone/>
            </a:pPr>
            <a:endParaRPr lang="fi-FI" sz="1600" dirty="0">
              <a:solidFill>
                <a:srgbClr val="2A295C"/>
              </a:solidFill>
              <a:latin typeface="Arial"/>
              <a:cs typeface="Sansa Pro Normal" panose="020B0504020101020102" pitchFamily="34" charset="0"/>
            </a:endParaRPr>
          </a:p>
        </p:txBody>
      </p:sp>
      <p:sp>
        <p:nvSpPr>
          <p:cNvPr id="22" name="Content Placeholder 4"/>
          <p:cNvSpPr txBox="1">
            <a:spLocks/>
          </p:cNvSpPr>
          <p:nvPr/>
        </p:nvSpPr>
        <p:spPr>
          <a:xfrm>
            <a:off x="3026123" y="7391049"/>
            <a:ext cx="3598559" cy="1298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98" indent="-234998" algn="l" defTabSz="1088715" rtl="0" eaLnBrk="1" latinLnBrk="0" hangingPunct="1">
              <a:spcBef>
                <a:spcPts val="508"/>
              </a:spcBef>
              <a:spcAft>
                <a:spcPts val="508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en-US" sz="2000" b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84814" indent="-249817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›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719811" indent="-234998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44" indent="0" algn="l" defTabSz="1088715" rtl="0" eaLnBrk="1" latinLnBrk="0" hangingPunct="1">
              <a:spcBef>
                <a:spcPts val="508"/>
              </a:spcBef>
              <a:spcAft>
                <a:spcPts val="508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300" b="1" kern="1200" baseline="0" dirty="0" smtClean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1"/>
              </a:buClr>
              <a:buFont typeface="Arial" pitchFamily="34" charset="0"/>
              <a:buNone/>
              <a:defRPr lang="en-AU" sz="2000" b="1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993967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8324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682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7039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451910">
              <a:spcBef>
                <a:spcPts val="677"/>
              </a:spcBef>
              <a:spcAft>
                <a:spcPts val="677"/>
              </a:spcAft>
              <a:buClr>
                <a:srgbClr val="FF0000"/>
              </a:buClr>
              <a:buNone/>
            </a:pPr>
            <a:r>
              <a:rPr lang="fi-FI" sz="1600" dirty="0">
                <a:solidFill>
                  <a:srgbClr val="2A295C"/>
                </a:solidFill>
                <a:latin typeface="Sansa Pro Bold" panose="020B0804020101020102" pitchFamily="34" charset="0"/>
                <a:cs typeface="Sansa Pro Bold" panose="020B0804020101020102" pitchFamily="34" charset="0"/>
              </a:rPr>
              <a:t>VAHVISTA PUHELINNUMEROSI</a:t>
            </a:r>
            <a:br>
              <a:rPr lang="fi-FI" sz="1600" dirty="0">
                <a:solidFill>
                  <a:srgbClr val="2A295C"/>
                </a:solidFill>
                <a:latin typeface="Sansa Pro Bold" panose="020B0804020101020102" pitchFamily="34" charset="0"/>
                <a:cs typeface="Sansa Pro Bold" panose="020B0804020101020102" pitchFamily="34" charset="0"/>
              </a:rPr>
            </a:br>
            <a:r>
              <a:rPr lang="fi-FI" sz="1600" dirty="0">
                <a:solidFill>
                  <a:srgbClr val="2A295C"/>
                </a:solidFill>
                <a:latin typeface="Arial"/>
                <a:cs typeface="Sansa Pro Normal" panose="020B0504020101020102" pitchFamily="34" charset="0"/>
              </a:rPr>
              <a:t>tekstiviestitse saapuvalla vahvistuskoodilla, syötä vahvistuskoodi ja vahvista puhelinnumerosi</a:t>
            </a:r>
          </a:p>
        </p:txBody>
      </p:sp>
      <p:sp>
        <p:nvSpPr>
          <p:cNvPr id="25" name="Content Placeholder 4"/>
          <p:cNvSpPr txBox="1">
            <a:spLocks/>
          </p:cNvSpPr>
          <p:nvPr/>
        </p:nvSpPr>
        <p:spPr>
          <a:xfrm>
            <a:off x="826153" y="10092559"/>
            <a:ext cx="3129346" cy="14784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98" indent="-234998" algn="l" defTabSz="1088715" rtl="0" eaLnBrk="1" latinLnBrk="0" hangingPunct="1">
              <a:spcBef>
                <a:spcPts val="508"/>
              </a:spcBef>
              <a:spcAft>
                <a:spcPts val="508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en-US" sz="2000" b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84814" indent="-249817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›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719811" indent="-234998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44" indent="0" algn="l" defTabSz="1088715" rtl="0" eaLnBrk="1" latinLnBrk="0" hangingPunct="1">
              <a:spcBef>
                <a:spcPts val="508"/>
              </a:spcBef>
              <a:spcAft>
                <a:spcPts val="508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300" b="1" kern="1200" baseline="0" dirty="0" smtClean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1"/>
              </a:buClr>
              <a:buFont typeface="Arial" pitchFamily="34" charset="0"/>
              <a:buNone/>
              <a:defRPr lang="en-AU" sz="2000" b="1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993967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8324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682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7039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451910">
              <a:spcBef>
                <a:spcPts val="677"/>
              </a:spcBef>
              <a:spcAft>
                <a:spcPts val="677"/>
              </a:spcAft>
              <a:buClr>
                <a:srgbClr val="FF0000"/>
              </a:buClr>
              <a:buNone/>
            </a:pPr>
            <a:r>
              <a:rPr lang="fi-FI" sz="1600" dirty="0">
                <a:solidFill>
                  <a:srgbClr val="2A295C"/>
                </a:solidFill>
                <a:latin typeface="Sansa Pro Bold" panose="020B0804020101020102" pitchFamily="34" charset="0"/>
                <a:cs typeface="Sansa Pro Bold" panose="020B0804020101020102" pitchFamily="34" charset="0"/>
              </a:rPr>
              <a:t>LIITÄ LOUNASETUKOODISI</a:t>
            </a:r>
            <a:br>
              <a:rPr lang="fi-FI" sz="1600" dirty="0">
                <a:solidFill>
                  <a:srgbClr val="2A295C"/>
                </a:solidFill>
                <a:latin typeface="Sansa Pro Bold" panose="020B0804020101020102" pitchFamily="34" charset="0"/>
                <a:cs typeface="Sansa Pro Bold" panose="020B0804020101020102" pitchFamily="34" charset="0"/>
              </a:rPr>
            </a:br>
            <a:r>
              <a:rPr lang="fi-FI" sz="1600" dirty="0">
                <a:solidFill>
                  <a:srgbClr val="2A295C"/>
                </a:solidFill>
                <a:latin typeface="Arial"/>
                <a:cs typeface="Sansa Pro Normal" panose="020B0504020101020102" pitchFamily="34" charset="0"/>
              </a:rPr>
              <a:t>saadaksesi parhaat edut.</a:t>
            </a:r>
          </a:p>
          <a:p>
            <a:pPr marL="0" indent="0" defTabSz="1451910">
              <a:spcBef>
                <a:spcPts val="677"/>
              </a:spcBef>
              <a:spcAft>
                <a:spcPts val="677"/>
              </a:spcAft>
              <a:buClr>
                <a:srgbClr val="FF0000"/>
              </a:buClr>
              <a:buNone/>
            </a:pPr>
            <a:r>
              <a:rPr lang="fi-FI" sz="1600" dirty="0">
                <a:solidFill>
                  <a:srgbClr val="2A295C"/>
                </a:solidFill>
                <a:latin typeface="Arial"/>
                <a:cs typeface="Sansa Pro Normal" panose="020B0504020101020102" pitchFamily="34" charset="0"/>
              </a:rPr>
              <a:t>Lounasetukoodin voi liittää myös myöhemmin </a:t>
            </a:r>
            <a:r>
              <a:rPr lang="fi-FI" sz="1600" dirty="0" err="1">
                <a:solidFill>
                  <a:srgbClr val="2A295C"/>
                </a:solidFill>
                <a:latin typeface="Arial"/>
                <a:cs typeface="Sansa Pro Normal" panose="020B0504020101020102" pitchFamily="34" charset="0"/>
              </a:rPr>
              <a:t>mySodexo</a:t>
            </a:r>
            <a:r>
              <a:rPr lang="fi-FI" sz="1600" dirty="0">
                <a:solidFill>
                  <a:srgbClr val="2A295C"/>
                </a:solidFill>
                <a:latin typeface="Arial"/>
                <a:cs typeface="Sansa Pro Normal" panose="020B0504020101020102" pitchFamily="34" charset="0"/>
              </a:rPr>
              <a:t> –välilehden omissa asetuksissa.</a:t>
            </a:r>
          </a:p>
        </p:txBody>
      </p:sp>
      <p:sp>
        <p:nvSpPr>
          <p:cNvPr id="2" name="Tekstiruutu 1"/>
          <p:cNvSpPr txBox="1"/>
          <p:nvPr/>
        </p:nvSpPr>
        <p:spPr>
          <a:xfrm>
            <a:off x="824909" y="313103"/>
            <a:ext cx="5899647" cy="892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281"/>
            <a:r>
              <a:rPr lang="fi-FI" sz="3199" b="1" dirty="0" err="1">
                <a:solidFill>
                  <a:srgbClr val="FF0000"/>
                </a:solidFill>
                <a:latin typeface="Sansa Pro Bold" panose="020B0804020101020102" pitchFamily="34" charset="0"/>
                <a:cs typeface="Sansa Pro Bold" panose="020B0804020101020102" pitchFamily="34" charset="0"/>
              </a:rPr>
              <a:t>mySodexo</a:t>
            </a:r>
            <a:br>
              <a:rPr lang="fi-FI" sz="1800" b="1" dirty="0">
                <a:solidFill>
                  <a:srgbClr val="2A295C"/>
                </a:solidFill>
                <a:latin typeface="Sansa Pro Bold" panose="020B0804020101020102" pitchFamily="34" charset="0"/>
                <a:cs typeface="Sansa Pro Bold" panose="020B0804020101020102" pitchFamily="34" charset="0"/>
              </a:rPr>
            </a:br>
            <a:r>
              <a:rPr lang="fi-FI" sz="1800" dirty="0">
                <a:solidFill>
                  <a:srgbClr val="2A295C"/>
                </a:solidFill>
                <a:latin typeface="Sansa Pro Bold" panose="020B0804020101020102" pitchFamily="34" charset="0"/>
                <a:cs typeface="Sansa Pro Bold" panose="020B0804020101020102" pitchFamily="34" charset="0"/>
              </a:rPr>
              <a:t>–</a:t>
            </a:r>
            <a:r>
              <a:rPr lang="fi-FI" sz="2000" dirty="0">
                <a:solidFill>
                  <a:srgbClr val="2A295C"/>
                </a:solidFill>
                <a:latin typeface="Sansa Pro Bold" panose="020B0804020101020102" pitchFamily="34" charset="0"/>
                <a:cs typeface="Sansa Pro Bold" panose="020B0804020101020102" pitchFamily="34" charset="0"/>
              </a:rPr>
              <a:t>SOVELLUKSEN KÄYTTÖOHJE</a:t>
            </a:r>
            <a:endParaRPr lang="fi-FI" sz="1800" dirty="0">
              <a:solidFill>
                <a:srgbClr val="2A295C"/>
              </a:solidFill>
              <a:latin typeface="Sansa Pro Bold" panose="020B0804020101020102" pitchFamily="34" charset="0"/>
              <a:cs typeface="Sansa Pro Bold" panose="020B0804020101020102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634F698-335F-4109-B6CA-5502083E58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7042" y="3662290"/>
            <a:ext cx="1889493" cy="3360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Kuva 7">
            <a:extLst>
              <a:ext uri="{FF2B5EF4-FFF2-40B4-BE49-F238E27FC236}">
                <a16:creationId xmlns:a16="http://schemas.microsoft.com/office/drawing/2014/main" id="{D66D1C89-3C74-4444-A739-F56DBC450F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4909" y="6672713"/>
            <a:ext cx="1886297" cy="3366063"/>
          </a:xfrm>
          <a:prstGeom prst="rect">
            <a:avLst/>
          </a:prstGeom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FECA5529-C169-43C4-B44F-2AEA916F7B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87"/>
          <a:stretch/>
        </p:blipFill>
        <p:spPr bwMode="auto">
          <a:xfrm>
            <a:off x="4199716" y="8708552"/>
            <a:ext cx="1889073" cy="2803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5134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">
            <a:extLst>
              <a:ext uri="{FF2B5EF4-FFF2-40B4-BE49-F238E27FC236}">
                <a16:creationId xmlns:a16="http://schemas.microsoft.com/office/drawing/2014/main" id="{5BC45192-98B2-468D-B11F-E9EFE542EA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-2659299" y="2659174"/>
            <a:ext cx="12209354" cy="6862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193306" y="758923"/>
            <a:ext cx="3337799" cy="3213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>
                <a:latin typeface="Sansa Pro Bold" panose="020B0804020101020102" pitchFamily="34" charset="0"/>
                <a:cs typeface="Sansa Pro Bold" panose="020B0804020101020102" pitchFamily="34" charset="0"/>
              </a:rPr>
              <a:t>TUTUSTU TUOTEVALIKOIMAAN</a:t>
            </a:r>
            <a:br>
              <a:rPr lang="en-US" sz="1400" dirty="0">
                <a:latin typeface="Sansa Pro Bold" panose="020B0804020101020102" pitchFamily="34" charset="0"/>
                <a:cs typeface="Sansa Pro Bold" panose="020B0804020101020102" pitchFamily="34" charset="0"/>
              </a:rPr>
            </a:br>
            <a:r>
              <a:rPr lang="en-US" sz="1600" dirty="0" err="1">
                <a:cs typeface="Sansa Pro Normal" panose="020B0504020101020102" pitchFamily="34" charset="0"/>
              </a:rPr>
              <a:t>selaa</a:t>
            </a:r>
            <a:r>
              <a:rPr lang="en-US" sz="1600" dirty="0">
                <a:cs typeface="Sansa Pro Normal" panose="020B0504020101020102" pitchFamily="34" charset="0"/>
              </a:rPr>
              <a:t> </a:t>
            </a:r>
            <a:r>
              <a:rPr lang="en-US" sz="1600" dirty="0" err="1">
                <a:cs typeface="Sansa Pro Normal" panose="020B0504020101020102" pitchFamily="34" charset="0"/>
              </a:rPr>
              <a:t>tuotevalikoimaa</a:t>
            </a:r>
            <a:r>
              <a:rPr lang="en-US" sz="1600" dirty="0">
                <a:cs typeface="Sansa Pro Normal" panose="020B0504020101020102" pitchFamily="34" charset="0"/>
              </a:rPr>
              <a:t>, </a:t>
            </a:r>
            <a:r>
              <a:rPr lang="en-US" sz="1600" dirty="0" err="1">
                <a:cs typeface="Sansa Pro Normal" panose="020B0504020101020102" pitchFamily="34" charset="0"/>
              </a:rPr>
              <a:t>valitse</a:t>
            </a:r>
            <a:r>
              <a:rPr lang="en-US" sz="1600" dirty="0">
                <a:cs typeface="Sansa Pro Normal" panose="020B0504020101020102" pitchFamily="34" charset="0"/>
              </a:rPr>
              <a:t> ja </a:t>
            </a:r>
            <a:r>
              <a:rPr lang="en-US" sz="1600" dirty="0" err="1">
                <a:cs typeface="Sansa Pro Normal" panose="020B0504020101020102" pitchFamily="34" charset="0"/>
              </a:rPr>
              <a:t>maksa</a:t>
            </a:r>
            <a:r>
              <a:rPr lang="en-US" sz="1600" dirty="0">
                <a:cs typeface="Sansa Pro Normal" panose="020B0504020101020102" pitchFamily="34" charset="0"/>
              </a:rPr>
              <a:t> </a:t>
            </a:r>
            <a:r>
              <a:rPr lang="en-US" sz="1600" dirty="0" err="1">
                <a:cs typeface="Sansa Pro Normal" panose="020B0504020101020102" pitchFamily="34" charset="0"/>
              </a:rPr>
              <a:t>päivän</a:t>
            </a:r>
            <a:r>
              <a:rPr lang="en-US" sz="1600" dirty="0">
                <a:cs typeface="Sansa Pro Normal" panose="020B0504020101020102" pitchFamily="34" charset="0"/>
              </a:rPr>
              <a:t> </a:t>
            </a:r>
            <a:r>
              <a:rPr lang="en-US" sz="1600" dirty="0" err="1">
                <a:cs typeface="Sansa Pro Normal" panose="020B0504020101020102" pitchFamily="34" charset="0"/>
              </a:rPr>
              <a:t>lounaasi</a:t>
            </a:r>
            <a:r>
              <a:rPr lang="en-US" sz="1600" dirty="0">
                <a:cs typeface="Sansa Pro Normal" panose="020B0504020101020102" pitchFamily="34" charset="0"/>
              </a:rPr>
              <a:t> </a:t>
            </a:r>
            <a:r>
              <a:rPr lang="en-US" sz="1600" dirty="0" err="1">
                <a:cs typeface="Sansa Pro Normal" panose="020B0504020101020102" pitchFamily="34" charset="0"/>
              </a:rPr>
              <a:t>vaikka</a:t>
            </a:r>
            <a:r>
              <a:rPr lang="en-US" sz="1600" dirty="0">
                <a:cs typeface="Sansa Pro Normal" panose="020B0504020101020102" pitchFamily="34" charset="0"/>
              </a:rPr>
              <a:t> </a:t>
            </a:r>
            <a:r>
              <a:rPr lang="en-US" sz="1600" dirty="0" err="1">
                <a:cs typeface="Sansa Pro Normal" panose="020B0504020101020102" pitchFamily="34" charset="0"/>
              </a:rPr>
              <a:t>ennakkoon</a:t>
            </a:r>
            <a:r>
              <a:rPr lang="en-US" sz="1600" dirty="0">
                <a:cs typeface="Sansa Pro Normal" panose="020B0504020101020102" pitchFamily="34" charset="0"/>
              </a:rPr>
              <a:t> ja </a:t>
            </a:r>
            <a:r>
              <a:rPr lang="en-US" sz="1600" dirty="0" err="1">
                <a:cs typeface="Sansa Pro Normal" panose="020B0504020101020102" pitchFamily="34" charset="0"/>
              </a:rPr>
              <a:t>vältyt</a:t>
            </a:r>
            <a:r>
              <a:rPr lang="en-US" sz="1600" dirty="0">
                <a:cs typeface="Sansa Pro Normal" panose="020B0504020101020102" pitchFamily="34" charset="0"/>
              </a:rPr>
              <a:t> </a:t>
            </a:r>
            <a:r>
              <a:rPr lang="en-US" sz="1600" dirty="0" err="1">
                <a:cs typeface="Sansa Pro Normal" panose="020B0504020101020102" pitchFamily="34" charset="0"/>
              </a:rPr>
              <a:t>jonottamiselta</a:t>
            </a:r>
            <a:endParaRPr lang="en-US" sz="1400" dirty="0">
              <a:cs typeface="Sansa Pro Normal" panose="020B0504020101020102" pitchFamily="34" charset="0"/>
            </a:endParaRPr>
          </a:p>
        </p:txBody>
      </p:sp>
      <p:sp>
        <p:nvSpPr>
          <p:cNvPr id="7" name="AutoShape 8" descr="Kuvahaun tulos haulle appstore logo"/>
          <p:cNvSpPr>
            <a:spLocks noChangeAspect="1" noChangeArrowheads="1"/>
          </p:cNvSpPr>
          <p:nvPr/>
        </p:nvSpPr>
        <p:spPr bwMode="auto">
          <a:xfrm>
            <a:off x="155575" y="-136525"/>
            <a:ext cx="300038" cy="300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8" name="AutoShape 10" descr="Kuvahaun tulos haulle appstore logo"/>
          <p:cNvSpPr>
            <a:spLocks noChangeAspect="1" noChangeArrowheads="1"/>
          </p:cNvSpPr>
          <p:nvPr/>
        </p:nvSpPr>
        <p:spPr bwMode="auto">
          <a:xfrm>
            <a:off x="307975" y="15875"/>
            <a:ext cx="300038" cy="300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9" name="AutoShape 12" descr="App Store logo vector"/>
          <p:cNvSpPr>
            <a:spLocks noChangeAspect="1" noChangeArrowheads="1"/>
          </p:cNvSpPr>
          <p:nvPr/>
        </p:nvSpPr>
        <p:spPr bwMode="auto">
          <a:xfrm>
            <a:off x="460375" y="168275"/>
            <a:ext cx="300038" cy="300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0" name="AutoShape 14" descr="App Store logo vector"/>
          <p:cNvSpPr>
            <a:spLocks noChangeAspect="1" noChangeArrowheads="1"/>
          </p:cNvSpPr>
          <p:nvPr/>
        </p:nvSpPr>
        <p:spPr bwMode="auto">
          <a:xfrm>
            <a:off x="612775" y="320675"/>
            <a:ext cx="300038" cy="300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3" name="AutoShape 16" descr="App Store logo vector"/>
          <p:cNvSpPr>
            <a:spLocks noChangeAspect="1" noChangeArrowheads="1"/>
          </p:cNvSpPr>
          <p:nvPr/>
        </p:nvSpPr>
        <p:spPr bwMode="auto">
          <a:xfrm>
            <a:off x="765175" y="473075"/>
            <a:ext cx="300038" cy="300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4" name="AutoShape 18" descr="App Store logo vector"/>
          <p:cNvSpPr>
            <a:spLocks noChangeAspect="1" noChangeArrowheads="1"/>
          </p:cNvSpPr>
          <p:nvPr/>
        </p:nvSpPr>
        <p:spPr bwMode="auto">
          <a:xfrm>
            <a:off x="917575" y="625475"/>
            <a:ext cx="300038" cy="300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1" name="Content Placeholder 4"/>
          <p:cNvSpPr txBox="1">
            <a:spLocks/>
          </p:cNvSpPr>
          <p:nvPr/>
        </p:nvSpPr>
        <p:spPr>
          <a:xfrm>
            <a:off x="917575" y="3789389"/>
            <a:ext cx="3337799" cy="321310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34998" indent="-234998" algn="l" defTabSz="1088715" rtl="0" eaLnBrk="1" latinLnBrk="0" hangingPunct="1">
              <a:spcBef>
                <a:spcPts val="508"/>
              </a:spcBef>
              <a:spcAft>
                <a:spcPts val="508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en-US" sz="2000" b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84814" indent="-249817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›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719811" indent="-234998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44" indent="0" algn="l" defTabSz="1088715" rtl="0" eaLnBrk="1" latinLnBrk="0" hangingPunct="1">
              <a:spcBef>
                <a:spcPts val="508"/>
              </a:spcBef>
              <a:spcAft>
                <a:spcPts val="508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300" b="1" kern="1200" baseline="0" dirty="0" smtClean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1"/>
              </a:buClr>
              <a:buFont typeface="Arial" pitchFamily="34" charset="0"/>
              <a:buNone/>
              <a:defRPr lang="en-AU" sz="2000" b="1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993967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8324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682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7039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br>
              <a:rPr lang="fi-FI" sz="1400" dirty="0">
                <a:latin typeface="Sansa Pro Bold" panose="020B0804020101020102" pitchFamily="34" charset="0"/>
                <a:cs typeface="Sansa Pro Bold" panose="020B0804020101020102" pitchFamily="34" charset="0"/>
              </a:rPr>
            </a:br>
            <a:endParaRPr lang="fi-FI" sz="1400" dirty="0">
              <a:latin typeface="Sansa Pro Bold" panose="020B0804020101020102" pitchFamily="34" charset="0"/>
              <a:cs typeface="Sansa Pro Bold" panose="020B0804020101020102" pitchFamily="34" charset="0"/>
            </a:endParaRPr>
          </a:p>
        </p:txBody>
      </p:sp>
      <p:sp>
        <p:nvSpPr>
          <p:cNvPr id="22" name="Content Placeholder 4"/>
          <p:cNvSpPr txBox="1">
            <a:spLocks/>
          </p:cNvSpPr>
          <p:nvPr/>
        </p:nvSpPr>
        <p:spPr>
          <a:xfrm>
            <a:off x="3221488" y="5821949"/>
            <a:ext cx="3337799" cy="3213102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234998" indent="-234998" algn="l" defTabSz="1088715" rtl="0" eaLnBrk="1" latinLnBrk="0" hangingPunct="1">
              <a:spcBef>
                <a:spcPts val="508"/>
              </a:spcBef>
              <a:spcAft>
                <a:spcPts val="508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en-US" sz="2000" b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84814" indent="-249817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›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719811" indent="-234998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44" indent="0" algn="l" defTabSz="1088715" rtl="0" eaLnBrk="1" latinLnBrk="0" hangingPunct="1">
              <a:spcBef>
                <a:spcPts val="508"/>
              </a:spcBef>
              <a:spcAft>
                <a:spcPts val="508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300" b="1" kern="1200" baseline="0" dirty="0" smtClean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1"/>
              </a:buClr>
              <a:buFont typeface="Arial" pitchFamily="34" charset="0"/>
              <a:buNone/>
              <a:defRPr lang="en-AU" sz="2000" b="1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993967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8324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682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7039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i-FI" sz="1400" dirty="0">
                <a:latin typeface="Sansa Pro Bold" panose="020B0804020101020102" pitchFamily="34" charset="0"/>
                <a:cs typeface="Sansa Pro Bold" panose="020B0804020101020102" pitchFamily="34" charset="0"/>
              </a:rPr>
              <a:t>LISÄÄ MAKSUTAPA</a:t>
            </a:r>
            <a:br>
              <a:rPr lang="fi-FI" sz="1400" dirty="0">
                <a:latin typeface="Sansa Pro Bold" panose="020B0804020101020102" pitchFamily="34" charset="0"/>
                <a:cs typeface="Sansa Pro Bold" panose="020B0804020101020102" pitchFamily="34" charset="0"/>
              </a:rPr>
            </a:br>
            <a:r>
              <a:rPr lang="fi-FI" sz="1600" dirty="0">
                <a:cs typeface="Sansa Pro Normal" panose="020B0504020101020102" pitchFamily="34" charset="0"/>
              </a:rPr>
              <a:t>lisää pankki- tai luottokorttisi tiedot sovellukseen ostoskorin ”lisää maksutapa” –painikkeesta. </a:t>
            </a:r>
          </a:p>
          <a:p>
            <a:pPr marL="0" indent="0">
              <a:buNone/>
            </a:pPr>
            <a:r>
              <a:rPr lang="fi-FI" sz="1600" dirty="0">
                <a:cs typeface="Sansa Pro Normal" panose="020B0504020101020102" pitchFamily="34" charset="0"/>
              </a:rPr>
              <a:t>Voit skannata korttisi tiedot puhelimesi kameran avulla tai syöttää nämä manuaalisesti. Voit tallentaa applikaatioon useamman korttisi tiedot.</a:t>
            </a:r>
          </a:p>
          <a:p>
            <a:pPr marL="0" indent="0">
              <a:buNone/>
            </a:pPr>
            <a:r>
              <a:rPr lang="fi-FI" sz="1600" dirty="0">
                <a:cs typeface="Sansa Pro Normal" panose="020B0504020101020102" pitchFamily="34" charset="0"/>
              </a:rPr>
              <a:t>Sovellus tarkastaa korttisi tekemällä kortilta 1 € katevarauksen. Tätä summaa ei kuitenkaan veloiteta tililtäsi.</a:t>
            </a:r>
          </a:p>
        </p:txBody>
      </p:sp>
      <p:sp>
        <p:nvSpPr>
          <p:cNvPr id="15" name="Content Placeholder 4"/>
          <p:cNvSpPr txBox="1">
            <a:spLocks/>
          </p:cNvSpPr>
          <p:nvPr/>
        </p:nvSpPr>
        <p:spPr>
          <a:xfrm>
            <a:off x="873865" y="3798970"/>
            <a:ext cx="3337799" cy="321310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34998" indent="-234998" algn="l" defTabSz="1088715" rtl="0" eaLnBrk="1" latinLnBrk="0" hangingPunct="1">
              <a:spcBef>
                <a:spcPts val="508"/>
              </a:spcBef>
              <a:spcAft>
                <a:spcPts val="508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en-US" sz="2000" b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84814" indent="-249817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›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719811" indent="-234998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44" indent="0" algn="l" defTabSz="1088715" rtl="0" eaLnBrk="1" latinLnBrk="0" hangingPunct="1">
              <a:spcBef>
                <a:spcPts val="508"/>
              </a:spcBef>
              <a:spcAft>
                <a:spcPts val="508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300" b="1" kern="1200" baseline="0" dirty="0" smtClean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1"/>
              </a:buClr>
              <a:buFont typeface="Arial" pitchFamily="34" charset="0"/>
              <a:buNone/>
              <a:defRPr lang="en-AU" sz="2000" b="1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993967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8324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682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7039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fi-FI" sz="1400" dirty="0">
                <a:latin typeface="Sansa Pro Bold" panose="020B0804020101020102" pitchFamily="34" charset="0"/>
                <a:cs typeface="Sansa Pro Bold" panose="020B0804020101020102" pitchFamily="34" charset="0"/>
              </a:rPr>
              <a:t>VALITSE TUOTTEET</a:t>
            </a:r>
            <a:br>
              <a:rPr lang="fi-FI" sz="1400" dirty="0">
                <a:latin typeface="Sansa Pro Bold" panose="020B0804020101020102" pitchFamily="34" charset="0"/>
                <a:cs typeface="Sansa Pro Bold" panose="020B0804020101020102" pitchFamily="34" charset="0"/>
              </a:rPr>
            </a:br>
            <a:r>
              <a:rPr lang="fi-FI" sz="1600" dirty="0">
                <a:cs typeface="Sansa Pro Normal" panose="020B0504020101020102" pitchFamily="34" charset="0"/>
              </a:rPr>
              <a:t>ensin valitse haluamasi tuotteet ostoskoriisi. 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fi-FI" sz="1400" dirty="0">
              <a:latin typeface="Sansa Pro Normal" panose="020B0504020101020102" pitchFamily="34" charset="0"/>
              <a:cs typeface="Sansa Pro Normal" panose="020B0504020101020102" pitchFamily="34" charset="0"/>
            </a:endParaRPr>
          </a:p>
        </p:txBody>
      </p:sp>
      <p:sp>
        <p:nvSpPr>
          <p:cNvPr id="17" name="Content Placeholder 4"/>
          <p:cNvSpPr txBox="1">
            <a:spLocks/>
          </p:cNvSpPr>
          <p:nvPr/>
        </p:nvSpPr>
        <p:spPr>
          <a:xfrm>
            <a:off x="799774" y="9452229"/>
            <a:ext cx="3337799" cy="321310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34998" indent="-234998" algn="l" defTabSz="1088715" rtl="0" eaLnBrk="1" latinLnBrk="0" hangingPunct="1">
              <a:spcBef>
                <a:spcPts val="508"/>
              </a:spcBef>
              <a:spcAft>
                <a:spcPts val="508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en-US" sz="2000" b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84814" indent="-249817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›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719811" indent="-234998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44" indent="0" algn="l" defTabSz="1088715" rtl="0" eaLnBrk="1" latinLnBrk="0" hangingPunct="1">
              <a:spcBef>
                <a:spcPts val="508"/>
              </a:spcBef>
              <a:spcAft>
                <a:spcPts val="508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300" b="1" kern="1200" baseline="0" dirty="0" smtClean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715" rtl="0" eaLnBrk="1" latinLnBrk="0" hangingPunct="1">
              <a:spcBef>
                <a:spcPts val="253"/>
              </a:spcBef>
              <a:spcAft>
                <a:spcPts val="253"/>
              </a:spcAft>
              <a:buClr>
                <a:schemeClr val="accent1"/>
              </a:buClr>
              <a:buFont typeface="Arial" pitchFamily="34" charset="0"/>
              <a:buNone/>
              <a:defRPr lang="en-AU" sz="2000" b="1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993967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8324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682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7039" indent="-272178" algn="l" defTabSz="10887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fi-FI" sz="1400" dirty="0">
                <a:latin typeface="Sansa Pro Bold" panose="020B0804020101020102" pitchFamily="34" charset="0"/>
                <a:cs typeface="Sansa Pro Bold" panose="020B0804020101020102" pitchFamily="34" charset="0"/>
              </a:rPr>
              <a:t>VAHVISTA OSTOSI</a:t>
            </a:r>
            <a:br>
              <a:rPr lang="fi-FI" sz="1400" dirty="0">
                <a:latin typeface="Sansa Pro Bold" panose="020B0804020101020102" pitchFamily="34" charset="0"/>
                <a:cs typeface="Sansa Pro Bold" panose="020B0804020101020102" pitchFamily="34" charset="0"/>
              </a:rPr>
            </a:br>
            <a:r>
              <a:rPr lang="fi-FI" sz="1600" dirty="0">
                <a:cs typeface="Sansa Pro Normal" panose="020B0504020101020102" pitchFamily="34" charset="0"/>
              </a:rPr>
              <a:t>maksettuasi tilauksesi saat </a:t>
            </a:r>
            <a:r>
              <a:rPr lang="fi-FI" sz="1600" dirty="0" err="1">
                <a:cs typeface="Sansa Pro Normal" panose="020B0504020101020102" pitchFamily="34" charset="0"/>
              </a:rPr>
              <a:t>QR-koodin</a:t>
            </a:r>
            <a:r>
              <a:rPr lang="fi-FI" sz="1600" dirty="0">
                <a:cs typeface="Sansa Pro Normal" panose="020B0504020101020102" pitchFamily="34" charset="0"/>
              </a:rPr>
              <a:t>, jonka avulla vahvistat ostosi. 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fi-FI" sz="1600" dirty="0">
                <a:cs typeface="Sansa Pro Normal" panose="020B0504020101020102" pitchFamily="34" charset="0"/>
              </a:rPr>
              <a:t>Näytä </a:t>
            </a:r>
            <a:r>
              <a:rPr lang="fi-FI" sz="1600" dirty="0" err="1">
                <a:cs typeface="Sansa Pro Normal" panose="020B0504020101020102" pitchFamily="34" charset="0"/>
              </a:rPr>
              <a:t>QR-koodi</a:t>
            </a:r>
            <a:r>
              <a:rPr lang="fi-FI" sz="1600" dirty="0">
                <a:cs typeface="Sansa Pro Normal" panose="020B0504020101020102" pitchFamily="34" charset="0"/>
              </a:rPr>
              <a:t> ravintolasalissa lounaslinjaston edessä olevalle koodinlukijalle/skannerille. Lukija näyttää vihreän valon, kun ostos on rekisteröity.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fi-FI" sz="1600" dirty="0">
                <a:cs typeface="Sansa Pro Normal" panose="020B0504020101020102" pitchFamily="34" charset="0"/>
              </a:rPr>
              <a:t>Nyt voit kerätä lounaasi linjastosta.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fi-FI" sz="1400" dirty="0">
              <a:latin typeface="Sansa Pro Normal" panose="020B0504020101020102" pitchFamily="34" charset="0"/>
              <a:cs typeface="Sansa Pro Normal" panose="020B0504020101020102" pitchFamily="34" charset="0"/>
            </a:endParaRPr>
          </a:p>
        </p:txBody>
      </p:sp>
      <p:pic>
        <p:nvPicPr>
          <p:cNvPr id="3074" name="Picture 2" descr="C:\Users\iida.turunen\AppData\Local\Microsoft\Windows\Temporary Internet Files\Content.Outlook\JDW36E5A\IMG_2044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20" b="13061"/>
          <a:stretch/>
        </p:blipFill>
        <p:spPr bwMode="auto">
          <a:xfrm>
            <a:off x="822372" y="550914"/>
            <a:ext cx="1785617" cy="2829683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iida.turunen\AppData\Local\Microsoft\Windows\Temporary Internet Files\Content.Outlook\JDW36E5A\IMG_2045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0335" y="2407863"/>
            <a:ext cx="1838174" cy="3269498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 descr="C:\Users\iida.turunen\AppData\Local\Microsoft\Windows\Temporary Internet Files\Content.Outlook\JDW36E5A\IMG_2046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575" y="5594024"/>
            <a:ext cx="1847460" cy="3286014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Highlight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822371" y="8513672"/>
            <a:ext cx="1018933" cy="440102"/>
          </a:xfrm>
          <a:custGeom>
            <a:avLst/>
            <a:gdLst>
              <a:gd name="T0" fmla="*/ 297 w 3884"/>
              <a:gd name="T1" fmla="*/ 1346 h 1600"/>
              <a:gd name="T2" fmla="*/ 2310 w 3884"/>
              <a:gd name="T3" fmla="*/ 1448 h 1600"/>
              <a:gd name="T4" fmla="*/ 3810 w 3884"/>
              <a:gd name="T5" fmla="*/ 884 h 1600"/>
              <a:gd name="T6" fmla="*/ 1945 w 3884"/>
              <a:gd name="T7" fmla="*/ 137 h 1600"/>
              <a:gd name="T8" fmla="*/ 74 w 3884"/>
              <a:gd name="T9" fmla="*/ 724 h 1600"/>
              <a:gd name="T10" fmla="*/ 781 w 3884"/>
              <a:gd name="T11" fmla="*/ 1072 h 1600"/>
              <a:gd name="T12" fmla="*/ 0 w 3884"/>
              <a:gd name="T13" fmla="*/ 724 h 1600"/>
              <a:gd name="T14" fmla="*/ 1951 w 3884"/>
              <a:gd name="T15" fmla="*/ 68 h 1600"/>
              <a:gd name="T16" fmla="*/ 3878 w 3884"/>
              <a:gd name="T17" fmla="*/ 884 h 1600"/>
              <a:gd name="T18" fmla="*/ 2276 w 3884"/>
              <a:gd name="T19" fmla="*/ 1523 h 1600"/>
              <a:gd name="T20" fmla="*/ 297 w 3884"/>
              <a:gd name="T21" fmla="*/ 1346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E50000"/>
          </a:solidFill>
          <a:ln w="9525" cap="flat" cmpd="sng" algn="ctr">
            <a:solidFill>
              <a:srgbClr val="E5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algn="ctr"/>
            <a:endParaRPr lang="fi-FI" b="1" dirty="0">
              <a:latin typeface="+mn-lt"/>
            </a:endParaRPr>
          </a:p>
        </p:txBody>
      </p:sp>
      <p:pic>
        <p:nvPicPr>
          <p:cNvPr id="3078" name="Picture 6" descr="C:\Users\iida.turunen\AppData\Local\Microsoft\Windows\Temporary Internet Files\Content.Outlook\JDW36E5A\IMG_2047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5374" y="8878101"/>
            <a:ext cx="1804529" cy="3209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uorakulmio 1"/>
          <p:cNvSpPr/>
          <p:nvPr/>
        </p:nvSpPr>
        <p:spPr>
          <a:xfrm>
            <a:off x="1447800" y="819150"/>
            <a:ext cx="561975" cy="777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9" name="Suorakulmio 18"/>
          <p:cNvSpPr/>
          <p:nvPr/>
        </p:nvSpPr>
        <p:spPr>
          <a:xfrm>
            <a:off x="4738434" y="2686050"/>
            <a:ext cx="561975" cy="777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0" name="Suorakulmio 19"/>
          <p:cNvSpPr/>
          <p:nvPr/>
        </p:nvSpPr>
        <p:spPr>
          <a:xfrm>
            <a:off x="1566609" y="5854933"/>
            <a:ext cx="561975" cy="777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3" name="Suorakulmio 22"/>
          <p:cNvSpPr/>
          <p:nvPr/>
        </p:nvSpPr>
        <p:spPr>
          <a:xfrm>
            <a:off x="4875846" y="9731608"/>
            <a:ext cx="561975" cy="777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4743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DBID" val="A8DEFCEF-F272-40CF-89F4-1A0BB1895896"/>
  <p:tag name="MIO_LASTDOWNLOADED" val="13.06.2017 10:30:40"/>
  <p:tag name="MIO_OBJECTNAME" val="Kick off meeting"/>
  <p:tag name="MIO_LASTEDITORNAME" val="Maria CHAGOT"/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EK" val="5530"/>
  <p:tag name="MIO_FALLBACK_LAYOUT" val="4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42"/>
  <p:tag name="MIO_HDS" val="True"/>
  <p:tag name="MIO_SKIPVERSION" val="01.01.0001 00:00:00"/>
  <p:tag name="MIO_EKGUID" val="a5cff3a7-4619-43bb-865f-36cf74b8207b"/>
  <p:tag name="MIO_UPDATE" val="True"/>
  <p:tag name="MIO_VERSION" val="02.01.2018 12:34:55"/>
  <p:tag name="MIO_DBID" val="A8DEFCEF-F272-40CF-89F4-1A0BB1895896"/>
  <p:tag name="MIO_LASTDOWNLOADED" val="17.04.2018 09:25:14"/>
  <p:tag name="MIO_OBJECTNAME" val="Master template"/>
  <p:tag name="MIO_LASTEDITORNAME" val="Maria CHAGOT"/>
  <p:tag name="MIO_CDID" val="c520c745-59f8-49aa-aa82-38b31e4c0a1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9"/>
  <p:tag name="MIO_HDS" val="True"/>
  <p:tag name="MIO_EK" val="4503"/>
  <p:tag name="MIO_EKGUID" val="5e12f1e6-4734-4500-b20a-1d0d3e5453e8"/>
  <p:tag name="MIO_UPDATE" val="True"/>
  <p:tag name="MIO_VERSION" val="20.12.2016 16:22:49"/>
  <p:tag name="MIO_DBID" val="A8DEFCEF-F272-40CF-89F4-1A0BB1895896"/>
  <p:tag name="MIO_LASTDOWNLOADED" val="27.12.2016 13:31:25"/>
  <p:tag name="MIO_OBJECTNAME" val="New Sodexo wide"/>
  <p:tag name="MIO_LASTEDITORNAME" val="Maria CHAGOT"/>
  <p:tag name="MIO_CDID" val="c520c745-59f8-49aa-aa82-38b31e4c0a1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EK" val="5530"/>
  <p:tag name="MIO_FALLBACK_LAYOUT" val="4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42"/>
  <p:tag name="MIO_HDS" val="True"/>
  <p:tag name="MIO_SKIPVERSION" val="01.01.0001 00:00:00"/>
  <p:tag name="MIO_EKGUID" val="a5cff3a7-4619-43bb-865f-36cf74b8207b"/>
  <p:tag name="MIO_UPDATE" val="True"/>
  <p:tag name="MIO_VERSION" val="02.01.2018 12:34:55"/>
  <p:tag name="MIO_DBID" val="A8DEFCEF-F272-40CF-89F4-1A0BB1895896"/>
  <p:tag name="MIO_LASTDOWNLOADED" val="17.04.2018 09:25:14"/>
  <p:tag name="MIO_OBJECTNAME" val="Master template"/>
  <p:tag name="MIO_LASTEDITORNAME" val="Maria CHAGOT"/>
  <p:tag name="MIO_CDID" val="c520c745-59f8-49aa-aa82-38b31e4c0a1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9"/>
  <p:tag name="MIO_HDS" val="True"/>
  <p:tag name="MIO_EK" val="4503"/>
  <p:tag name="MIO_EKGUID" val="5e12f1e6-4734-4500-b20a-1d0d3e5453e8"/>
  <p:tag name="MIO_UPDATE" val="True"/>
  <p:tag name="MIO_VERSION" val="20.12.2016 16:22:49"/>
  <p:tag name="MIO_DBID" val="A8DEFCEF-F272-40CF-89F4-1A0BB1895896"/>
  <p:tag name="MIO_LASTDOWNLOADED" val="27.12.2016 13:31:25"/>
  <p:tag name="MIO_OBJECTNAME" val="New Sodexo wide"/>
  <p:tag name="MIO_LASTEDITORNAME" val="Maria CHAGOT"/>
  <p:tag name="MIO_CDID" val="c520c745-59f8-49aa-aa82-38b31e4c0a1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8fd8c1-7c32-4a05-870f-8fd69fd9095e"/>
  <p:tag name="MIO_EK" val="1978"/>
  <p:tag name="MIO_EKGUID" val="861cbe49-65d9-4b7d-a834-e16047854516"/>
  <p:tag name="MIO_UPDATE" val="True"/>
  <p:tag name="MIO_VERSION" val="04.01.2018 19:00:30"/>
  <p:tag name="MIO_DBID" val="A8DEFCEF-F272-40CF-89F4-1A0BB1895896"/>
  <p:tag name="MIO_LASTDOWNLOADED" val="26.08.2019 10:00:50"/>
  <p:tag name="MIO_OBJECTNAME" val="Highlight"/>
  <p:tag name="MIO_LASTEDITORNAME" val="Maria CHAGOT"/>
</p:tagLst>
</file>

<file path=ppt/theme/theme1.xml><?xml version="1.0" encoding="utf-8"?>
<a:theme xmlns:a="http://schemas.openxmlformats.org/drawingml/2006/main" name="blank">
  <a:themeElements>
    <a:clrScheme name="Sodexo">
      <a:dk1>
        <a:srgbClr val="000000"/>
      </a:dk1>
      <a:lt1>
        <a:srgbClr val="FFFFFF"/>
      </a:lt1>
      <a:dk2>
        <a:srgbClr val="7F7F7F"/>
      </a:dk2>
      <a:lt2>
        <a:srgbClr val="D3D0C9"/>
      </a:lt2>
      <a:accent1>
        <a:srgbClr val="2A295C"/>
      </a:accent1>
      <a:accent2>
        <a:srgbClr val="FF0000"/>
      </a:accent2>
      <a:accent3>
        <a:srgbClr val="7F7F7F"/>
      </a:accent3>
      <a:accent4>
        <a:srgbClr val="D3D0C9"/>
      </a:accent4>
      <a:accent5>
        <a:srgbClr val="9396AB"/>
      </a:accent5>
      <a:accent6>
        <a:srgbClr val="FF6666"/>
      </a:accent6>
      <a:hlink>
        <a:srgbClr val="2A295C"/>
      </a:hlink>
      <a:folHlink>
        <a:srgbClr val="2A295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06DE5221-BF58-404C-822E-4E7763731A6F}" vid="{83D3A011-4B07-0A4E-8481-36182F9767A1}"/>
    </a:ext>
  </a:extLst>
</a:theme>
</file>

<file path=ppt/theme/theme2.xml><?xml version="1.0" encoding="utf-8"?>
<a:theme xmlns:a="http://schemas.openxmlformats.org/drawingml/2006/main" name="1_blank">
  <a:themeElements>
    <a:clrScheme name="Sodexo">
      <a:dk1>
        <a:srgbClr val="000000"/>
      </a:dk1>
      <a:lt1>
        <a:srgbClr val="FFFFFF"/>
      </a:lt1>
      <a:dk2>
        <a:srgbClr val="7F7F7F"/>
      </a:dk2>
      <a:lt2>
        <a:srgbClr val="D3D0C9"/>
      </a:lt2>
      <a:accent1>
        <a:srgbClr val="2A295C"/>
      </a:accent1>
      <a:accent2>
        <a:srgbClr val="FF0000"/>
      </a:accent2>
      <a:accent3>
        <a:srgbClr val="7F7F7F"/>
      </a:accent3>
      <a:accent4>
        <a:srgbClr val="D3D0C9"/>
      </a:accent4>
      <a:accent5>
        <a:srgbClr val="9396AB"/>
      </a:accent5>
      <a:accent6>
        <a:srgbClr val="FF6666"/>
      </a:accent6>
      <a:hlink>
        <a:srgbClr val="2A295C"/>
      </a:hlink>
      <a:folHlink>
        <a:srgbClr val="2A295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06DE5221-BF58-404C-822E-4E7763731A6F}" vid="{83D3A011-4B07-0A4E-8481-36182F9767A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4</Words>
  <Application>Microsoft Office PowerPoint</Application>
  <PresentationFormat>Mukautettu</PresentationFormat>
  <Paragraphs>19</Paragraphs>
  <Slides>3</Slides>
  <Notes>0</Notes>
  <HiddenSlides>0</HiddenSlides>
  <MMClips>0</MMClips>
  <ScaleCrop>false</ScaleCrop>
  <HeadingPairs>
    <vt:vector size="6" baseType="variant">
      <vt:variant>
        <vt:lpstr>Käytetyt fontit</vt:lpstr>
      </vt:variant>
      <vt:variant>
        <vt:i4>5</vt:i4>
      </vt:variant>
      <vt:variant>
        <vt:lpstr>Teema</vt:lpstr>
      </vt:variant>
      <vt:variant>
        <vt:i4>2</vt:i4>
      </vt:variant>
      <vt:variant>
        <vt:lpstr>Dian otsikot</vt:lpstr>
      </vt:variant>
      <vt:variant>
        <vt:i4>3</vt:i4>
      </vt:variant>
    </vt:vector>
  </HeadingPairs>
  <TitlesOfParts>
    <vt:vector size="10" baseType="lpstr">
      <vt:lpstr>Arial</vt:lpstr>
      <vt:lpstr>Calibri</vt:lpstr>
      <vt:lpstr>Sansa Pro Bold</vt:lpstr>
      <vt:lpstr>Sansa Pro Normal</vt:lpstr>
      <vt:lpstr>Wingdings</vt:lpstr>
      <vt:lpstr>blank</vt:lpstr>
      <vt:lpstr>1_blank</vt:lpstr>
      <vt:lpstr>Tervetuloa  mySodexo –sovelluksen käyttäjäksi</vt:lpstr>
      <vt:lpstr>PowerPoint-esitys</vt:lpstr>
      <vt:lpstr>PowerPoint-esitys</vt:lpstr>
    </vt:vector>
  </TitlesOfParts>
  <Company>Sodex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TURUNEN Iida</dc:creator>
  <cp:lastModifiedBy>POHJANNE Pirita</cp:lastModifiedBy>
  <cp:revision>30</cp:revision>
  <dcterms:created xsi:type="dcterms:W3CDTF">2019-08-26T03:17:11Z</dcterms:created>
  <dcterms:modified xsi:type="dcterms:W3CDTF">2021-06-10T12:26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sync_ProviderInitializationData">
    <vt:lpwstr>https://sharingplatform.sodexonet.com</vt:lpwstr>
  </property>
  <property fmtid="{D5CDD505-2E9C-101B-9397-08002B2CF9AE}" pid="3" name="Offisync_UpdateToken">
    <vt:lpwstr>3</vt:lpwstr>
  </property>
  <property fmtid="{D5CDD505-2E9C-101B-9397-08002B2CF9AE}" pid="4" name="Jive_VersionGuid">
    <vt:lpwstr>2e097158-e51c-4645-ba16-b02aa6891dd8</vt:lpwstr>
  </property>
  <property fmtid="{D5CDD505-2E9C-101B-9397-08002B2CF9AE}" pid="5" name="Offisync_UniqueId">
    <vt:lpwstr>77027</vt:lpwstr>
  </property>
  <property fmtid="{D5CDD505-2E9C-101B-9397-08002B2CF9AE}" pid="6" name="Jive_LatestUserAccountName">
    <vt:lpwstr>Maria.CHAGOT@sodexo.com</vt:lpwstr>
  </property>
  <property fmtid="{D5CDD505-2E9C-101B-9397-08002B2CF9AE}" pid="7" name="Offisync_ServerID">
    <vt:lpwstr>c74a8b3f-f3e9-4848-b413-6c87060bb366</vt:lpwstr>
  </property>
</Properties>
</file>